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handoutMasterIdLst>
    <p:handoutMasterId r:id="rId6"/>
  </p:handoutMasterIdLst>
  <p:sldIdLst>
    <p:sldId id="333" r:id="rId2"/>
    <p:sldId id="339" r:id="rId3"/>
    <p:sldId id="340" r:id="rId4"/>
  </p:sldIdLst>
  <p:sldSz cx="12192000" cy="6858000"/>
  <p:notesSz cx="6858000" cy="9144000"/>
  <p:custDataLst>
    <p:tags r:id="rId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266" userDrawn="1">
          <p15:clr>
            <a:srgbClr val="A4A3A4"/>
          </p15:clr>
        </p15:guide>
        <p15:guide id="6" orient="horz" pos="1049" userDrawn="1">
          <p15:clr>
            <a:srgbClr val="A4A3A4"/>
          </p15:clr>
        </p15:guide>
        <p15:guide id="9" pos="2139" userDrawn="1">
          <p15:clr>
            <a:srgbClr val="A4A3A4"/>
          </p15:clr>
        </p15:guide>
        <p15:guide id="12" pos="483" userDrawn="1">
          <p15:clr>
            <a:srgbClr val="A4A3A4"/>
          </p15:clr>
        </p15:guide>
        <p15:guide id="13" orient="horz" pos="66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BDBDB"/>
    <a:srgbClr val="A4A4A4"/>
    <a:srgbClr val="F8F8F8"/>
    <a:srgbClr val="ECECEC"/>
    <a:srgbClr val="EFCCE1"/>
    <a:srgbClr val="D77FB4"/>
    <a:srgbClr val="CCD6E0"/>
    <a:srgbClr val="7F99B0"/>
    <a:srgbClr val="E4D7E0"/>
    <a:srgbClr val="C9AF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125E5076-3810-47DD-B79F-674D7AD40C01}" styleName="Dunkle Formatvorlage 1 - Akz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660B408-B3CF-4A94-85FC-2B1E0A45F4A2}" styleName="Dunkle Formatvorlage 2 - Akzent 1/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763"/>
    <p:restoredTop sz="95055"/>
  </p:normalViewPr>
  <p:slideViewPr>
    <p:cSldViewPr showGuides="1">
      <p:cViewPr varScale="1">
        <p:scale>
          <a:sx n="78" d="100"/>
          <a:sy n="78" d="100"/>
        </p:scale>
        <p:origin x="907" y="72"/>
      </p:cViewPr>
      <p:guideLst>
        <p:guide orient="horz" pos="266"/>
        <p:guide orient="horz" pos="1049"/>
        <p:guide pos="2139"/>
        <p:guide pos="483"/>
        <p:guide orient="horz" pos="66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6" d="100"/>
        <a:sy n="76" d="100"/>
      </p:scale>
      <p:origin x="0" y="0"/>
    </p:cViewPr>
  </p:sorterViewPr>
  <p:notesViewPr>
    <p:cSldViewPr showGuides="1">
      <p:cViewPr varScale="1">
        <p:scale>
          <a:sx n="99" d="100"/>
          <a:sy n="99" d="100"/>
        </p:scale>
        <p:origin x="2592" y="72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591B35-1FEA-450B-8B82-9177384CFB53}" type="datetimeFigureOut">
              <a:rPr lang="de-DE" smtClean="0"/>
              <a:t>11.11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30D555-2929-438A-AC33-64DFCA72506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52612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7F903F-C6D8-407E-9D62-0E61D228E756}" type="datetimeFigureOut">
              <a:rPr lang="de-DE" smtClean="0"/>
              <a:t>11.11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DE480B-5858-4930-8452-185984D1A76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11532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DE480B-5858-4930-8452-185984D1A76A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81700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4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78120CCA-147B-4E99-965F-6593A2FD9FF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011918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fik 11">
            <a:extLst>
              <a:ext uri="{FF2B5EF4-FFF2-40B4-BE49-F238E27FC236}">
                <a16:creationId xmlns:a16="http://schemas.microsoft.com/office/drawing/2014/main" id="{1E879802-7E06-496A-B2C4-EE8E8272E8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6095999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80000" y="2232000"/>
            <a:ext cx="5375450" cy="1202994"/>
          </a:xfrm>
          <a:prstGeom prst="rect">
            <a:avLst/>
          </a:prstGeom>
          <a:noFill/>
        </p:spPr>
        <p:txBody>
          <a:bodyPr wrap="square" lIns="144000" tIns="72000" bIns="14400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15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344000" y="434045"/>
            <a:ext cx="4511450" cy="1288938"/>
          </a:xfrm>
          <a:prstGeom prst="rect">
            <a:avLst/>
          </a:prstGeom>
        </p:spPr>
        <p:txBody>
          <a:bodyPr anchor="t" anchorCtr="0"/>
          <a:lstStyle>
            <a:lvl1pPr marL="0" indent="0" algn="r">
              <a:buNone/>
              <a:defRPr sz="2400" b="1" i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Beispiel EBS Business School</a:t>
            </a:r>
          </a:p>
        </p:txBody>
      </p:sp>
      <p:sp>
        <p:nvSpPr>
          <p:cNvPr id="13" name="Freeform 72">
            <a:extLst>
              <a:ext uri="{FF2B5EF4-FFF2-40B4-BE49-F238E27FC236}">
                <a16:creationId xmlns:a16="http://schemas.microsoft.com/office/drawing/2014/main" id="{4AE20946-1DAF-46A3-ADC8-BF5B279EFD5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72781" y="6336000"/>
            <a:ext cx="1807219" cy="177584"/>
          </a:xfrm>
          <a:custGeom>
            <a:avLst/>
            <a:gdLst>
              <a:gd name="T0" fmla="*/ 2669 w 5760"/>
              <a:gd name="T1" fmla="*/ 458 h 566"/>
              <a:gd name="T2" fmla="*/ 2401 w 5760"/>
              <a:gd name="T3" fmla="*/ 346 h 566"/>
              <a:gd name="T4" fmla="*/ 2333 w 5760"/>
              <a:gd name="T5" fmla="*/ 341 h 566"/>
              <a:gd name="T6" fmla="*/ 2627 w 5760"/>
              <a:gd name="T7" fmla="*/ 545 h 566"/>
              <a:gd name="T8" fmla="*/ 2791 w 5760"/>
              <a:gd name="T9" fmla="*/ 66 h 566"/>
              <a:gd name="T10" fmla="*/ 3006 w 5760"/>
              <a:gd name="T11" fmla="*/ 215 h 566"/>
              <a:gd name="T12" fmla="*/ 2864 w 5760"/>
              <a:gd name="T13" fmla="*/ 521 h 566"/>
              <a:gd name="T14" fmla="*/ 3023 w 5760"/>
              <a:gd name="T15" fmla="*/ 248 h 566"/>
              <a:gd name="T16" fmla="*/ 3193 w 5760"/>
              <a:gd name="T17" fmla="*/ 531 h 566"/>
              <a:gd name="T18" fmla="*/ 3361 w 5760"/>
              <a:gd name="T19" fmla="*/ 59 h 566"/>
              <a:gd name="T20" fmla="*/ 3373 w 5760"/>
              <a:gd name="T21" fmla="*/ 199 h 566"/>
              <a:gd name="T22" fmla="*/ 3256 w 5760"/>
              <a:gd name="T23" fmla="*/ 533 h 566"/>
              <a:gd name="T24" fmla="*/ 3715 w 5760"/>
              <a:gd name="T25" fmla="*/ 283 h 566"/>
              <a:gd name="T26" fmla="*/ 3493 w 5760"/>
              <a:gd name="T27" fmla="*/ 260 h 566"/>
              <a:gd name="T28" fmla="*/ 4119 w 5760"/>
              <a:gd name="T29" fmla="*/ 299 h 566"/>
              <a:gd name="T30" fmla="*/ 3887 w 5760"/>
              <a:gd name="T31" fmla="*/ 259 h 566"/>
              <a:gd name="T32" fmla="*/ 3953 w 5760"/>
              <a:gd name="T33" fmla="*/ 559 h 566"/>
              <a:gd name="T34" fmla="*/ 3993 w 5760"/>
              <a:gd name="T35" fmla="*/ 508 h 566"/>
              <a:gd name="T36" fmla="*/ 4123 w 5760"/>
              <a:gd name="T37" fmla="*/ 321 h 566"/>
              <a:gd name="T38" fmla="*/ 4054 w 5760"/>
              <a:gd name="T39" fmla="*/ 309 h 566"/>
              <a:gd name="T40" fmla="*/ 4191 w 5760"/>
              <a:gd name="T41" fmla="*/ 252 h 566"/>
              <a:gd name="T42" fmla="*/ 4306 w 5760"/>
              <a:gd name="T43" fmla="*/ 526 h 566"/>
              <a:gd name="T44" fmla="*/ 4400 w 5760"/>
              <a:gd name="T45" fmla="*/ 281 h 566"/>
              <a:gd name="T46" fmla="*/ 4538 w 5760"/>
              <a:gd name="T47" fmla="*/ 292 h 566"/>
              <a:gd name="T48" fmla="*/ 4675 w 5760"/>
              <a:gd name="T49" fmla="*/ 215 h 566"/>
              <a:gd name="T50" fmla="*/ 4483 w 5760"/>
              <a:gd name="T51" fmla="*/ 313 h 566"/>
              <a:gd name="T52" fmla="*/ 4600 w 5760"/>
              <a:gd name="T53" fmla="*/ 536 h 566"/>
              <a:gd name="T54" fmla="*/ 4573 w 5760"/>
              <a:gd name="T55" fmla="*/ 563 h 566"/>
              <a:gd name="T56" fmla="*/ 4839 w 5760"/>
              <a:gd name="T57" fmla="*/ 133 h 566"/>
              <a:gd name="T58" fmla="*/ 4806 w 5760"/>
              <a:gd name="T59" fmla="*/ 70 h 566"/>
              <a:gd name="T60" fmla="*/ 4790 w 5760"/>
              <a:gd name="T61" fmla="*/ 255 h 566"/>
              <a:gd name="T62" fmla="*/ 4879 w 5760"/>
              <a:gd name="T63" fmla="*/ 512 h 566"/>
              <a:gd name="T64" fmla="*/ 5071 w 5760"/>
              <a:gd name="T65" fmla="*/ 211 h 566"/>
              <a:gd name="T66" fmla="*/ 5168 w 5760"/>
              <a:gd name="T67" fmla="*/ 505 h 566"/>
              <a:gd name="T68" fmla="*/ 5295 w 5760"/>
              <a:gd name="T69" fmla="*/ 56 h 566"/>
              <a:gd name="T70" fmla="*/ 5435 w 5760"/>
              <a:gd name="T71" fmla="*/ 129 h 566"/>
              <a:gd name="T72" fmla="*/ 5383 w 5760"/>
              <a:gd name="T73" fmla="*/ 94 h 566"/>
              <a:gd name="T74" fmla="*/ 5463 w 5760"/>
              <a:gd name="T75" fmla="*/ 276 h 566"/>
              <a:gd name="T76" fmla="*/ 5225 w 5760"/>
              <a:gd name="T77" fmla="*/ 300 h 566"/>
              <a:gd name="T78" fmla="*/ 5377 w 5760"/>
              <a:gd name="T79" fmla="*/ 250 h 566"/>
              <a:gd name="T80" fmla="*/ 5225 w 5760"/>
              <a:gd name="T81" fmla="*/ 503 h 566"/>
              <a:gd name="T82" fmla="*/ 5465 w 5760"/>
              <a:gd name="T83" fmla="*/ 563 h 566"/>
              <a:gd name="T84" fmla="*/ 5286 w 5760"/>
              <a:gd name="T85" fmla="*/ 445 h 566"/>
              <a:gd name="T86" fmla="*/ 5659 w 5760"/>
              <a:gd name="T87" fmla="*/ 465 h 566"/>
              <a:gd name="T88" fmla="*/ 5606 w 5760"/>
              <a:gd name="T89" fmla="*/ 526 h 566"/>
              <a:gd name="T90" fmla="*/ 2066 w 5760"/>
              <a:gd name="T91" fmla="*/ 414 h 566"/>
              <a:gd name="T92" fmla="*/ 888 w 5760"/>
              <a:gd name="T93" fmla="*/ 58 h 566"/>
              <a:gd name="T94" fmla="*/ 701 w 5760"/>
              <a:gd name="T95" fmla="*/ 554 h 566"/>
              <a:gd name="T96" fmla="*/ 924 w 5760"/>
              <a:gd name="T97" fmla="*/ 318 h 566"/>
              <a:gd name="T98" fmla="*/ 772 w 5760"/>
              <a:gd name="T99" fmla="*/ 75 h 566"/>
              <a:gd name="T100" fmla="*/ 715 w 5760"/>
              <a:gd name="T101" fmla="*/ 519 h 566"/>
              <a:gd name="T102" fmla="*/ 820 w 5760"/>
              <a:gd name="T103" fmla="*/ 362 h 566"/>
              <a:gd name="T104" fmla="*/ 1131 w 5760"/>
              <a:gd name="T105" fmla="*/ 189 h 566"/>
              <a:gd name="T106" fmla="*/ 1281 w 5760"/>
              <a:gd name="T107" fmla="*/ 108 h 566"/>
              <a:gd name="T108" fmla="*/ 1024 w 5760"/>
              <a:gd name="T109" fmla="*/ 73 h 566"/>
              <a:gd name="T110" fmla="*/ 1211 w 5760"/>
              <a:gd name="T111" fmla="*/ 362 h 566"/>
              <a:gd name="T112" fmla="*/ 1031 w 5760"/>
              <a:gd name="T113" fmla="*/ 449 h 566"/>
              <a:gd name="T114" fmla="*/ 1143 w 5760"/>
              <a:gd name="T115" fmla="*/ 566 h 566"/>
              <a:gd name="T116" fmla="*/ 1328 w 5760"/>
              <a:gd name="T117" fmla="*/ 309 h 566"/>
              <a:gd name="T118" fmla="*/ 199 w 5760"/>
              <a:gd name="T119" fmla="*/ 486 h 566"/>
              <a:gd name="T120" fmla="*/ 330 w 5760"/>
              <a:gd name="T121" fmla="*/ 239 h 566"/>
              <a:gd name="T122" fmla="*/ 379 w 5760"/>
              <a:gd name="T123" fmla="*/ 98 h 566"/>
              <a:gd name="T124" fmla="*/ 72 w 5760"/>
              <a:gd name="T125" fmla="*/ 503 h 5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760" h="566">
                <a:moveTo>
                  <a:pt x="2618" y="66"/>
                </a:moveTo>
                <a:lnTo>
                  <a:pt x="2618" y="66"/>
                </a:lnTo>
                <a:lnTo>
                  <a:pt x="2637" y="68"/>
                </a:lnTo>
                <a:lnTo>
                  <a:pt x="2653" y="70"/>
                </a:lnTo>
                <a:lnTo>
                  <a:pt x="2667" y="73"/>
                </a:lnTo>
                <a:lnTo>
                  <a:pt x="2676" y="77"/>
                </a:lnTo>
                <a:lnTo>
                  <a:pt x="2684" y="84"/>
                </a:lnTo>
                <a:lnTo>
                  <a:pt x="2690" y="91"/>
                </a:lnTo>
                <a:lnTo>
                  <a:pt x="2693" y="100"/>
                </a:lnTo>
                <a:lnTo>
                  <a:pt x="2695" y="110"/>
                </a:lnTo>
                <a:lnTo>
                  <a:pt x="2695" y="110"/>
                </a:lnTo>
                <a:lnTo>
                  <a:pt x="2698" y="129"/>
                </a:lnTo>
                <a:lnTo>
                  <a:pt x="2700" y="155"/>
                </a:lnTo>
                <a:lnTo>
                  <a:pt x="2700" y="192"/>
                </a:lnTo>
                <a:lnTo>
                  <a:pt x="2702" y="239"/>
                </a:lnTo>
                <a:lnTo>
                  <a:pt x="2702" y="299"/>
                </a:lnTo>
                <a:lnTo>
                  <a:pt x="2702" y="299"/>
                </a:lnTo>
                <a:lnTo>
                  <a:pt x="2700" y="344"/>
                </a:lnTo>
                <a:lnTo>
                  <a:pt x="2697" y="367"/>
                </a:lnTo>
                <a:lnTo>
                  <a:pt x="2693" y="388"/>
                </a:lnTo>
                <a:lnTo>
                  <a:pt x="2690" y="407"/>
                </a:lnTo>
                <a:lnTo>
                  <a:pt x="2684" y="426"/>
                </a:lnTo>
                <a:lnTo>
                  <a:pt x="2677" y="442"/>
                </a:lnTo>
                <a:lnTo>
                  <a:pt x="2669" y="458"/>
                </a:lnTo>
                <a:lnTo>
                  <a:pt x="2660" y="472"/>
                </a:lnTo>
                <a:lnTo>
                  <a:pt x="2649" y="486"/>
                </a:lnTo>
                <a:lnTo>
                  <a:pt x="2637" y="496"/>
                </a:lnTo>
                <a:lnTo>
                  <a:pt x="2623" y="505"/>
                </a:lnTo>
                <a:lnTo>
                  <a:pt x="2607" y="512"/>
                </a:lnTo>
                <a:lnTo>
                  <a:pt x="2590" y="517"/>
                </a:lnTo>
                <a:lnTo>
                  <a:pt x="2571" y="521"/>
                </a:lnTo>
                <a:lnTo>
                  <a:pt x="2551" y="522"/>
                </a:lnTo>
                <a:lnTo>
                  <a:pt x="2551" y="522"/>
                </a:lnTo>
                <a:lnTo>
                  <a:pt x="2532" y="521"/>
                </a:lnTo>
                <a:lnTo>
                  <a:pt x="2517" y="519"/>
                </a:lnTo>
                <a:lnTo>
                  <a:pt x="2501" y="514"/>
                </a:lnTo>
                <a:lnTo>
                  <a:pt x="2485" y="508"/>
                </a:lnTo>
                <a:lnTo>
                  <a:pt x="2473" y="501"/>
                </a:lnTo>
                <a:lnTo>
                  <a:pt x="2461" y="493"/>
                </a:lnTo>
                <a:lnTo>
                  <a:pt x="2448" y="482"/>
                </a:lnTo>
                <a:lnTo>
                  <a:pt x="2440" y="470"/>
                </a:lnTo>
                <a:lnTo>
                  <a:pt x="2431" y="456"/>
                </a:lnTo>
                <a:lnTo>
                  <a:pt x="2422" y="442"/>
                </a:lnTo>
                <a:lnTo>
                  <a:pt x="2417" y="425"/>
                </a:lnTo>
                <a:lnTo>
                  <a:pt x="2412" y="407"/>
                </a:lnTo>
                <a:lnTo>
                  <a:pt x="2406" y="388"/>
                </a:lnTo>
                <a:lnTo>
                  <a:pt x="2403" y="369"/>
                </a:lnTo>
                <a:lnTo>
                  <a:pt x="2401" y="346"/>
                </a:lnTo>
                <a:lnTo>
                  <a:pt x="2401" y="323"/>
                </a:lnTo>
                <a:lnTo>
                  <a:pt x="2401" y="145"/>
                </a:lnTo>
                <a:lnTo>
                  <a:pt x="2401" y="145"/>
                </a:lnTo>
                <a:lnTo>
                  <a:pt x="2401" y="121"/>
                </a:lnTo>
                <a:lnTo>
                  <a:pt x="2403" y="103"/>
                </a:lnTo>
                <a:lnTo>
                  <a:pt x="2406" y="89"/>
                </a:lnTo>
                <a:lnTo>
                  <a:pt x="2412" y="80"/>
                </a:lnTo>
                <a:lnTo>
                  <a:pt x="2420" y="73"/>
                </a:lnTo>
                <a:lnTo>
                  <a:pt x="2433" y="70"/>
                </a:lnTo>
                <a:lnTo>
                  <a:pt x="2450" y="66"/>
                </a:lnTo>
                <a:lnTo>
                  <a:pt x="2471" y="66"/>
                </a:lnTo>
                <a:lnTo>
                  <a:pt x="2471" y="44"/>
                </a:lnTo>
                <a:lnTo>
                  <a:pt x="2265" y="44"/>
                </a:lnTo>
                <a:lnTo>
                  <a:pt x="2265" y="66"/>
                </a:lnTo>
                <a:lnTo>
                  <a:pt x="2265" y="66"/>
                </a:lnTo>
                <a:lnTo>
                  <a:pt x="2286" y="68"/>
                </a:lnTo>
                <a:lnTo>
                  <a:pt x="2302" y="70"/>
                </a:lnTo>
                <a:lnTo>
                  <a:pt x="2314" y="75"/>
                </a:lnTo>
                <a:lnTo>
                  <a:pt x="2323" y="80"/>
                </a:lnTo>
                <a:lnTo>
                  <a:pt x="2328" y="91"/>
                </a:lnTo>
                <a:lnTo>
                  <a:pt x="2331" y="103"/>
                </a:lnTo>
                <a:lnTo>
                  <a:pt x="2333" y="121"/>
                </a:lnTo>
                <a:lnTo>
                  <a:pt x="2333" y="145"/>
                </a:lnTo>
                <a:lnTo>
                  <a:pt x="2333" y="341"/>
                </a:lnTo>
                <a:lnTo>
                  <a:pt x="2333" y="341"/>
                </a:lnTo>
                <a:lnTo>
                  <a:pt x="2335" y="374"/>
                </a:lnTo>
                <a:lnTo>
                  <a:pt x="2338" y="404"/>
                </a:lnTo>
                <a:lnTo>
                  <a:pt x="2343" y="430"/>
                </a:lnTo>
                <a:lnTo>
                  <a:pt x="2350" y="454"/>
                </a:lnTo>
                <a:lnTo>
                  <a:pt x="2361" y="477"/>
                </a:lnTo>
                <a:lnTo>
                  <a:pt x="2373" y="496"/>
                </a:lnTo>
                <a:lnTo>
                  <a:pt x="2387" y="512"/>
                </a:lnTo>
                <a:lnTo>
                  <a:pt x="2403" y="528"/>
                </a:lnTo>
                <a:lnTo>
                  <a:pt x="2403" y="528"/>
                </a:lnTo>
                <a:lnTo>
                  <a:pt x="2417" y="536"/>
                </a:lnTo>
                <a:lnTo>
                  <a:pt x="2433" y="545"/>
                </a:lnTo>
                <a:lnTo>
                  <a:pt x="2447" y="550"/>
                </a:lnTo>
                <a:lnTo>
                  <a:pt x="2462" y="556"/>
                </a:lnTo>
                <a:lnTo>
                  <a:pt x="2480" y="559"/>
                </a:lnTo>
                <a:lnTo>
                  <a:pt x="2497" y="563"/>
                </a:lnTo>
                <a:lnTo>
                  <a:pt x="2513" y="564"/>
                </a:lnTo>
                <a:lnTo>
                  <a:pt x="2530" y="564"/>
                </a:lnTo>
                <a:lnTo>
                  <a:pt x="2530" y="564"/>
                </a:lnTo>
                <a:lnTo>
                  <a:pt x="2551" y="564"/>
                </a:lnTo>
                <a:lnTo>
                  <a:pt x="2571" y="561"/>
                </a:lnTo>
                <a:lnTo>
                  <a:pt x="2590" y="557"/>
                </a:lnTo>
                <a:lnTo>
                  <a:pt x="2607" y="552"/>
                </a:lnTo>
                <a:lnTo>
                  <a:pt x="2627" y="545"/>
                </a:lnTo>
                <a:lnTo>
                  <a:pt x="2642" y="535"/>
                </a:lnTo>
                <a:lnTo>
                  <a:pt x="2658" y="524"/>
                </a:lnTo>
                <a:lnTo>
                  <a:pt x="2674" y="510"/>
                </a:lnTo>
                <a:lnTo>
                  <a:pt x="2674" y="510"/>
                </a:lnTo>
                <a:lnTo>
                  <a:pt x="2690" y="493"/>
                </a:lnTo>
                <a:lnTo>
                  <a:pt x="2702" y="472"/>
                </a:lnTo>
                <a:lnTo>
                  <a:pt x="2712" y="449"/>
                </a:lnTo>
                <a:lnTo>
                  <a:pt x="2721" y="425"/>
                </a:lnTo>
                <a:lnTo>
                  <a:pt x="2726" y="397"/>
                </a:lnTo>
                <a:lnTo>
                  <a:pt x="2731" y="369"/>
                </a:lnTo>
                <a:lnTo>
                  <a:pt x="2733" y="337"/>
                </a:lnTo>
                <a:lnTo>
                  <a:pt x="2733" y="304"/>
                </a:lnTo>
                <a:lnTo>
                  <a:pt x="2733" y="239"/>
                </a:lnTo>
                <a:lnTo>
                  <a:pt x="2733" y="239"/>
                </a:lnTo>
                <a:lnTo>
                  <a:pt x="2735" y="155"/>
                </a:lnTo>
                <a:lnTo>
                  <a:pt x="2738" y="112"/>
                </a:lnTo>
                <a:lnTo>
                  <a:pt x="2738" y="112"/>
                </a:lnTo>
                <a:lnTo>
                  <a:pt x="2740" y="101"/>
                </a:lnTo>
                <a:lnTo>
                  <a:pt x="2744" y="91"/>
                </a:lnTo>
                <a:lnTo>
                  <a:pt x="2749" y="84"/>
                </a:lnTo>
                <a:lnTo>
                  <a:pt x="2756" y="79"/>
                </a:lnTo>
                <a:lnTo>
                  <a:pt x="2766" y="73"/>
                </a:lnTo>
                <a:lnTo>
                  <a:pt x="2777" y="70"/>
                </a:lnTo>
                <a:lnTo>
                  <a:pt x="2791" y="66"/>
                </a:lnTo>
                <a:lnTo>
                  <a:pt x="2808" y="66"/>
                </a:lnTo>
                <a:lnTo>
                  <a:pt x="2808" y="44"/>
                </a:lnTo>
                <a:lnTo>
                  <a:pt x="2618" y="44"/>
                </a:lnTo>
                <a:lnTo>
                  <a:pt x="2618" y="66"/>
                </a:lnTo>
                <a:close/>
                <a:moveTo>
                  <a:pt x="3158" y="472"/>
                </a:moveTo>
                <a:lnTo>
                  <a:pt x="3158" y="321"/>
                </a:lnTo>
                <a:lnTo>
                  <a:pt x="3158" y="321"/>
                </a:lnTo>
                <a:lnTo>
                  <a:pt x="3156" y="293"/>
                </a:lnTo>
                <a:lnTo>
                  <a:pt x="3151" y="269"/>
                </a:lnTo>
                <a:lnTo>
                  <a:pt x="3147" y="259"/>
                </a:lnTo>
                <a:lnTo>
                  <a:pt x="3142" y="250"/>
                </a:lnTo>
                <a:lnTo>
                  <a:pt x="3137" y="241"/>
                </a:lnTo>
                <a:lnTo>
                  <a:pt x="3130" y="232"/>
                </a:lnTo>
                <a:lnTo>
                  <a:pt x="3123" y="225"/>
                </a:lnTo>
                <a:lnTo>
                  <a:pt x="3116" y="218"/>
                </a:lnTo>
                <a:lnTo>
                  <a:pt x="3107" y="213"/>
                </a:lnTo>
                <a:lnTo>
                  <a:pt x="3098" y="210"/>
                </a:lnTo>
                <a:lnTo>
                  <a:pt x="3088" y="206"/>
                </a:lnTo>
                <a:lnTo>
                  <a:pt x="3077" y="203"/>
                </a:lnTo>
                <a:lnTo>
                  <a:pt x="3055" y="201"/>
                </a:lnTo>
                <a:lnTo>
                  <a:pt x="3055" y="201"/>
                </a:lnTo>
                <a:lnTo>
                  <a:pt x="3039" y="203"/>
                </a:lnTo>
                <a:lnTo>
                  <a:pt x="3022" y="208"/>
                </a:lnTo>
                <a:lnTo>
                  <a:pt x="3006" y="215"/>
                </a:lnTo>
                <a:lnTo>
                  <a:pt x="2988" y="225"/>
                </a:lnTo>
                <a:lnTo>
                  <a:pt x="2988" y="225"/>
                </a:lnTo>
                <a:lnTo>
                  <a:pt x="2936" y="262"/>
                </a:lnTo>
                <a:lnTo>
                  <a:pt x="2936" y="199"/>
                </a:lnTo>
                <a:lnTo>
                  <a:pt x="2936" y="199"/>
                </a:lnTo>
                <a:lnTo>
                  <a:pt x="2910" y="210"/>
                </a:lnTo>
                <a:lnTo>
                  <a:pt x="2882" y="218"/>
                </a:lnTo>
                <a:lnTo>
                  <a:pt x="2854" y="225"/>
                </a:lnTo>
                <a:lnTo>
                  <a:pt x="2826" y="231"/>
                </a:lnTo>
                <a:lnTo>
                  <a:pt x="2826" y="250"/>
                </a:lnTo>
                <a:lnTo>
                  <a:pt x="2826" y="250"/>
                </a:lnTo>
                <a:lnTo>
                  <a:pt x="2850" y="255"/>
                </a:lnTo>
                <a:lnTo>
                  <a:pt x="2859" y="259"/>
                </a:lnTo>
                <a:lnTo>
                  <a:pt x="2866" y="264"/>
                </a:lnTo>
                <a:lnTo>
                  <a:pt x="2870" y="271"/>
                </a:lnTo>
                <a:lnTo>
                  <a:pt x="2871" y="280"/>
                </a:lnTo>
                <a:lnTo>
                  <a:pt x="2873" y="293"/>
                </a:lnTo>
                <a:lnTo>
                  <a:pt x="2873" y="309"/>
                </a:lnTo>
                <a:lnTo>
                  <a:pt x="2873" y="472"/>
                </a:lnTo>
                <a:lnTo>
                  <a:pt x="2873" y="472"/>
                </a:lnTo>
                <a:lnTo>
                  <a:pt x="2873" y="489"/>
                </a:lnTo>
                <a:lnTo>
                  <a:pt x="2871" y="503"/>
                </a:lnTo>
                <a:lnTo>
                  <a:pt x="2870" y="514"/>
                </a:lnTo>
                <a:lnTo>
                  <a:pt x="2864" y="521"/>
                </a:lnTo>
                <a:lnTo>
                  <a:pt x="2857" y="526"/>
                </a:lnTo>
                <a:lnTo>
                  <a:pt x="2847" y="529"/>
                </a:lnTo>
                <a:lnTo>
                  <a:pt x="2833" y="531"/>
                </a:lnTo>
                <a:lnTo>
                  <a:pt x="2815" y="533"/>
                </a:lnTo>
                <a:lnTo>
                  <a:pt x="2815" y="554"/>
                </a:lnTo>
                <a:lnTo>
                  <a:pt x="2988" y="554"/>
                </a:lnTo>
                <a:lnTo>
                  <a:pt x="2988" y="533"/>
                </a:lnTo>
                <a:lnTo>
                  <a:pt x="2988" y="533"/>
                </a:lnTo>
                <a:lnTo>
                  <a:pt x="2973" y="531"/>
                </a:lnTo>
                <a:lnTo>
                  <a:pt x="2960" y="529"/>
                </a:lnTo>
                <a:lnTo>
                  <a:pt x="2950" y="526"/>
                </a:lnTo>
                <a:lnTo>
                  <a:pt x="2945" y="521"/>
                </a:lnTo>
                <a:lnTo>
                  <a:pt x="2939" y="514"/>
                </a:lnTo>
                <a:lnTo>
                  <a:pt x="2938" y="503"/>
                </a:lnTo>
                <a:lnTo>
                  <a:pt x="2936" y="489"/>
                </a:lnTo>
                <a:lnTo>
                  <a:pt x="2936" y="472"/>
                </a:lnTo>
                <a:lnTo>
                  <a:pt x="2936" y="288"/>
                </a:lnTo>
                <a:lnTo>
                  <a:pt x="2936" y="288"/>
                </a:lnTo>
                <a:lnTo>
                  <a:pt x="2955" y="273"/>
                </a:lnTo>
                <a:lnTo>
                  <a:pt x="2976" y="260"/>
                </a:lnTo>
                <a:lnTo>
                  <a:pt x="2987" y="255"/>
                </a:lnTo>
                <a:lnTo>
                  <a:pt x="2999" y="252"/>
                </a:lnTo>
                <a:lnTo>
                  <a:pt x="3011" y="248"/>
                </a:lnTo>
                <a:lnTo>
                  <a:pt x="3023" y="248"/>
                </a:lnTo>
                <a:lnTo>
                  <a:pt x="3023" y="248"/>
                </a:lnTo>
                <a:lnTo>
                  <a:pt x="3041" y="250"/>
                </a:lnTo>
                <a:lnTo>
                  <a:pt x="3057" y="253"/>
                </a:lnTo>
                <a:lnTo>
                  <a:pt x="3069" y="262"/>
                </a:lnTo>
                <a:lnTo>
                  <a:pt x="3079" y="273"/>
                </a:lnTo>
                <a:lnTo>
                  <a:pt x="3086" y="285"/>
                </a:lnTo>
                <a:lnTo>
                  <a:pt x="3091" y="300"/>
                </a:lnTo>
                <a:lnTo>
                  <a:pt x="3093" y="318"/>
                </a:lnTo>
                <a:lnTo>
                  <a:pt x="3095" y="337"/>
                </a:lnTo>
                <a:lnTo>
                  <a:pt x="3095" y="468"/>
                </a:lnTo>
                <a:lnTo>
                  <a:pt x="3095" y="468"/>
                </a:lnTo>
                <a:lnTo>
                  <a:pt x="3095" y="486"/>
                </a:lnTo>
                <a:lnTo>
                  <a:pt x="3093" y="501"/>
                </a:lnTo>
                <a:lnTo>
                  <a:pt x="3091" y="512"/>
                </a:lnTo>
                <a:lnTo>
                  <a:pt x="3086" y="519"/>
                </a:lnTo>
                <a:lnTo>
                  <a:pt x="3079" y="524"/>
                </a:lnTo>
                <a:lnTo>
                  <a:pt x="3070" y="529"/>
                </a:lnTo>
                <a:lnTo>
                  <a:pt x="3058" y="531"/>
                </a:lnTo>
                <a:lnTo>
                  <a:pt x="3043" y="533"/>
                </a:lnTo>
                <a:lnTo>
                  <a:pt x="3043" y="554"/>
                </a:lnTo>
                <a:lnTo>
                  <a:pt x="3209" y="554"/>
                </a:lnTo>
                <a:lnTo>
                  <a:pt x="3209" y="533"/>
                </a:lnTo>
                <a:lnTo>
                  <a:pt x="3209" y="533"/>
                </a:lnTo>
                <a:lnTo>
                  <a:pt x="3193" y="531"/>
                </a:lnTo>
                <a:lnTo>
                  <a:pt x="3181" y="529"/>
                </a:lnTo>
                <a:lnTo>
                  <a:pt x="3172" y="526"/>
                </a:lnTo>
                <a:lnTo>
                  <a:pt x="3165" y="521"/>
                </a:lnTo>
                <a:lnTo>
                  <a:pt x="3161" y="514"/>
                </a:lnTo>
                <a:lnTo>
                  <a:pt x="3160" y="503"/>
                </a:lnTo>
                <a:lnTo>
                  <a:pt x="3158" y="489"/>
                </a:lnTo>
                <a:lnTo>
                  <a:pt x="3158" y="472"/>
                </a:lnTo>
                <a:lnTo>
                  <a:pt x="3158" y="472"/>
                </a:lnTo>
                <a:close/>
                <a:moveTo>
                  <a:pt x="3336" y="133"/>
                </a:moveTo>
                <a:lnTo>
                  <a:pt x="3336" y="133"/>
                </a:lnTo>
                <a:lnTo>
                  <a:pt x="3345" y="133"/>
                </a:lnTo>
                <a:lnTo>
                  <a:pt x="3354" y="129"/>
                </a:lnTo>
                <a:lnTo>
                  <a:pt x="3361" y="126"/>
                </a:lnTo>
                <a:lnTo>
                  <a:pt x="3366" y="121"/>
                </a:lnTo>
                <a:lnTo>
                  <a:pt x="3371" y="115"/>
                </a:lnTo>
                <a:lnTo>
                  <a:pt x="3375" y="108"/>
                </a:lnTo>
                <a:lnTo>
                  <a:pt x="3376" y="101"/>
                </a:lnTo>
                <a:lnTo>
                  <a:pt x="3378" y="93"/>
                </a:lnTo>
                <a:lnTo>
                  <a:pt x="3378" y="93"/>
                </a:lnTo>
                <a:lnTo>
                  <a:pt x="3376" y="84"/>
                </a:lnTo>
                <a:lnTo>
                  <a:pt x="3375" y="77"/>
                </a:lnTo>
                <a:lnTo>
                  <a:pt x="3371" y="70"/>
                </a:lnTo>
                <a:lnTo>
                  <a:pt x="3366" y="65"/>
                </a:lnTo>
                <a:lnTo>
                  <a:pt x="3361" y="59"/>
                </a:lnTo>
                <a:lnTo>
                  <a:pt x="3354" y="56"/>
                </a:lnTo>
                <a:lnTo>
                  <a:pt x="3345" y="52"/>
                </a:lnTo>
                <a:lnTo>
                  <a:pt x="3338" y="52"/>
                </a:lnTo>
                <a:lnTo>
                  <a:pt x="3338" y="52"/>
                </a:lnTo>
                <a:lnTo>
                  <a:pt x="3329" y="52"/>
                </a:lnTo>
                <a:lnTo>
                  <a:pt x="3322" y="56"/>
                </a:lnTo>
                <a:lnTo>
                  <a:pt x="3315" y="59"/>
                </a:lnTo>
                <a:lnTo>
                  <a:pt x="3310" y="65"/>
                </a:lnTo>
                <a:lnTo>
                  <a:pt x="3305" y="70"/>
                </a:lnTo>
                <a:lnTo>
                  <a:pt x="3301" y="77"/>
                </a:lnTo>
                <a:lnTo>
                  <a:pt x="3298" y="84"/>
                </a:lnTo>
                <a:lnTo>
                  <a:pt x="3298" y="93"/>
                </a:lnTo>
                <a:lnTo>
                  <a:pt x="3298" y="93"/>
                </a:lnTo>
                <a:lnTo>
                  <a:pt x="3298" y="101"/>
                </a:lnTo>
                <a:lnTo>
                  <a:pt x="3301" y="108"/>
                </a:lnTo>
                <a:lnTo>
                  <a:pt x="3305" y="115"/>
                </a:lnTo>
                <a:lnTo>
                  <a:pt x="3310" y="121"/>
                </a:lnTo>
                <a:lnTo>
                  <a:pt x="3315" y="126"/>
                </a:lnTo>
                <a:lnTo>
                  <a:pt x="3322" y="129"/>
                </a:lnTo>
                <a:lnTo>
                  <a:pt x="3329" y="133"/>
                </a:lnTo>
                <a:lnTo>
                  <a:pt x="3336" y="133"/>
                </a:lnTo>
                <a:lnTo>
                  <a:pt x="3336" y="133"/>
                </a:lnTo>
                <a:close/>
                <a:moveTo>
                  <a:pt x="3373" y="470"/>
                </a:moveTo>
                <a:lnTo>
                  <a:pt x="3373" y="199"/>
                </a:lnTo>
                <a:lnTo>
                  <a:pt x="3373" y="199"/>
                </a:lnTo>
                <a:lnTo>
                  <a:pt x="3347" y="210"/>
                </a:lnTo>
                <a:lnTo>
                  <a:pt x="3319" y="218"/>
                </a:lnTo>
                <a:lnTo>
                  <a:pt x="3291" y="225"/>
                </a:lnTo>
                <a:lnTo>
                  <a:pt x="3261" y="231"/>
                </a:lnTo>
                <a:lnTo>
                  <a:pt x="3261" y="250"/>
                </a:lnTo>
                <a:lnTo>
                  <a:pt x="3261" y="250"/>
                </a:lnTo>
                <a:lnTo>
                  <a:pt x="3277" y="252"/>
                </a:lnTo>
                <a:lnTo>
                  <a:pt x="3289" y="255"/>
                </a:lnTo>
                <a:lnTo>
                  <a:pt x="3298" y="259"/>
                </a:lnTo>
                <a:lnTo>
                  <a:pt x="3303" y="264"/>
                </a:lnTo>
                <a:lnTo>
                  <a:pt x="3306" y="271"/>
                </a:lnTo>
                <a:lnTo>
                  <a:pt x="3310" y="280"/>
                </a:lnTo>
                <a:lnTo>
                  <a:pt x="3310" y="307"/>
                </a:lnTo>
                <a:lnTo>
                  <a:pt x="3310" y="470"/>
                </a:lnTo>
                <a:lnTo>
                  <a:pt x="3310" y="470"/>
                </a:lnTo>
                <a:lnTo>
                  <a:pt x="3310" y="489"/>
                </a:lnTo>
                <a:lnTo>
                  <a:pt x="3308" y="503"/>
                </a:lnTo>
                <a:lnTo>
                  <a:pt x="3306" y="512"/>
                </a:lnTo>
                <a:lnTo>
                  <a:pt x="3301" y="521"/>
                </a:lnTo>
                <a:lnTo>
                  <a:pt x="3294" y="526"/>
                </a:lnTo>
                <a:lnTo>
                  <a:pt x="3285" y="529"/>
                </a:lnTo>
                <a:lnTo>
                  <a:pt x="3271" y="531"/>
                </a:lnTo>
                <a:lnTo>
                  <a:pt x="3256" y="533"/>
                </a:lnTo>
                <a:lnTo>
                  <a:pt x="3256" y="554"/>
                </a:lnTo>
                <a:lnTo>
                  <a:pt x="3430" y="554"/>
                </a:lnTo>
                <a:lnTo>
                  <a:pt x="3430" y="533"/>
                </a:lnTo>
                <a:lnTo>
                  <a:pt x="3430" y="533"/>
                </a:lnTo>
                <a:lnTo>
                  <a:pt x="3413" y="531"/>
                </a:lnTo>
                <a:lnTo>
                  <a:pt x="3399" y="529"/>
                </a:lnTo>
                <a:lnTo>
                  <a:pt x="3390" y="526"/>
                </a:lnTo>
                <a:lnTo>
                  <a:pt x="3383" y="521"/>
                </a:lnTo>
                <a:lnTo>
                  <a:pt x="3378" y="512"/>
                </a:lnTo>
                <a:lnTo>
                  <a:pt x="3375" y="503"/>
                </a:lnTo>
                <a:lnTo>
                  <a:pt x="3375" y="489"/>
                </a:lnTo>
                <a:lnTo>
                  <a:pt x="3373" y="470"/>
                </a:lnTo>
                <a:lnTo>
                  <a:pt x="3373" y="470"/>
                </a:lnTo>
                <a:close/>
                <a:moveTo>
                  <a:pt x="3677" y="231"/>
                </a:moveTo>
                <a:lnTo>
                  <a:pt x="3677" y="231"/>
                </a:lnTo>
                <a:lnTo>
                  <a:pt x="3693" y="232"/>
                </a:lnTo>
                <a:lnTo>
                  <a:pt x="3703" y="236"/>
                </a:lnTo>
                <a:lnTo>
                  <a:pt x="3712" y="239"/>
                </a:lnTo>
                <a:lnTo>
                  <a:pt x="3717" y="245"/>
                </a:lnTo>
                <a:lnTo>
                  <a:pt x="3721" y="252"/>
                </a:lnTo>
                <a:lnTo>
                  <a:pt x="3721" y="259"/>
                </a:lnTo>
                <a:lnTo>
                  <a:pt x="3719" y="269"/>
                </a:lnTo>
                <a:lnTo>
                  <a:pt x="3715" y="283"/>
                </a:lnTo>
                <a:lnTo>
                  <a:pt x="3715" y="283"/>
                </a:lnTo>
                <a:lnTo>
                  <a:pt x="3684" y="370"/>
                </a:lnTo>
                <a:lnTo>
                  <a:pt x="3665" y="421"/>
                </a:lnTo>
                <a:lnTo>
                  <a:pt x="3645" y="470"/>
                </a:lnTo>
                <a:lnTo>
                  <a:pt x="3645" y="470"/>
                </a:lnTo>
                <a:lnTo>
                  <a:pt x="3605" y="372"/>
                </a:lnTo>
                <a:lnTo>
                  <a:pt x="3569" y="276"/>
                </a:lnTo>
                <a:lnTo>
                  <a:pt x="3569" y="276"/>
                </a:lnTo>
                <a:lnTo>
                  <a:pt x="3563" y="255"/>
                </a:lnTo>
                <a:lnTo>
                  <a:pt x="3562" y="248"/>
                </a:lnTo>
                <a:lnTo>
                  <a:pt x="3563" y="243"/>
                </a:lnTo>
                <a:lnTo>
                  <a:pt x="3569" y="238"/>
                </a:lnTo>
                <a:lnTo>
                  <a:pt x="3576" y="236"/>
                </a:lnTo>
                <a:lnTo>
                  <a:pt x="3586" y="232"/>
                </a:lnTo>
                <a:lnTo>
                  <a:pt x="3602" y="231"/>
                </a:lnTo>
                <a:lnTo>
                  <a:pt x="3602" y="211"/>
                </a:lnTo>
                <a:lnTo>
                  <a:pt x="3437" y="211"/>
                </a:lnTo>
                <a:lnTo>
                  <a:pt x="3437" y="231"/>
                </a:lnTo>
                <a:lnTo>
                  <a:pt x="3437" y="231"/>
                </a:lnTo>
                <a:lnTo>
                  <a:pt x="3451" y="232"/>
                </a:lnTo>
                <a:lnTo>
                  <a:pt x="3464" y="236"/>
                </a:lnTo>
                <a:lnTo>
                  <a:pt x="3472" y="239"/>
                </a:lnTo>
                <a:lnTo>
                  <a:pt x="3481" y="245"/>
                </a:lnTo>
                <a:lnTo>
                  <a:pt x="3488" y="252"/>
                </a:lnTo>
                <a:lnTo>
                  <a:pt x="3493" y="260"/>
                </a:lnTo>
                <a:lnTo>
                  <a:pt x="3506" y="288"/>
                </a:lnTo>
                <a:lnTo>
                  <a:pt x="3506" y="288"/>
                </a:lnTo>
                <a:lnTo>
                  <a:pt x="3562" y="425"/>
                </a:lnTo>
                <a:lnTo>
                  <a:pt x="3616" y="563"/>
                </a:lnTo>
                <a:lnTo>
                  <a:pt x="3637" y="563"/>
                </a:lnTo>
                <a:lnTo>
                  <a:pt x="3637" y="563"/>
                </a:lnTo>
                <a:lnTo>
                  <a:pt x="3668" y="479"/>
                </a:lnTo>
                <a:lnTo>
                  <a:pt x="3700" y="405"/>
                </a:lnTo>
                <a:lnTo>
                  <a:pt x="3749" y="290"/>
                </a:lnTo>
                <a:lnTo>
                  <a:pt x="3749" y="290"/>
                </a:lnTo>
                <a:lnTo>
                  <a:pt x="3763" y="262"/>
                </a:lnTo>
                <a:lnTo>
                  <a:pt x="3770" y="252"/>
                </a:lnTo>
                <a:lnTo>
                  <a:pt x="3777" y="245"/>
                </a:lnTo>
                <a:lnTo>
                  <a:pt x="3783" y="239"/>
                </a:lnTo>
                <a:lnTo>
                  <a:pt x="3794" y="236"/>
                </a:lnTo>
                <a:lnTo>
                  <a:pt x="3804" y="232"/>
                </a:lnTo>
                <a:lnTo>
                  <a:pt x="3818" y="231"/>
                </a:lnTo>
                <a:lnTo>
                  <a:pt x="3818" y="211"/>
                </a:lnTo>
                <a:lnTo>
                  <a:pt x="3677" y="211"/>
                </a:lnTo>
                <a:lnTo>
                  <a:pt x="3677" y="231"/>
                </a:lnTo>
                <a:close/>
                <a:moveTo>
                  <a:pt x="4123" y="321"/>
                </a:moveTo>
                <a:lnTo>
                  <a:pt x="4123" y="321"/>
                </a:lnTo>
                <a:lnTo>
                  <a:pt x="4121" y="309"/>
                </a:lnTo>
                <a:lnTo>
                  <a:pt x="4119" y="299"/>
                </a:lnTo>
                <a:lnTo>
                  <a:pt x="4117" y="286"/>
                </a:lnTo>
                <a:lnTo>
                  <a:pt x="4112" y="276"/>
                </a:lnTo>
                <a:lnTo>
                  <a:pt x="4107" y="266"/>
                </a:lnTo>
                <a:lnTo>
                  <a:pt x="4102" y="257"/>
                </a:lnTo>
                <a:lnTo>
                  <a:pt x="4095" y="246"/>
                </a:lnTo>
                <a:lnTo>
                  <a:pt x="4088" y="238"/>
                </a:lnTo>
                <a:lnTo>
                  <a:pt x="4079" y="231"/>
                </a:lnTo>
                <a:lnTo>
                  <a:pt x="4070" y="224"/>
                </a:lnTo>
                <a:lnTo>
                  <a:pt x="4060" y="217"/>
                </a:lnTo>
                <a:lnTo>
                  <a:pt x="4049" y="211"/>
                </a:lnTo>
                <a:lnTo>
                  <a:pt x="4039" y="208"/>
                </a:lnTo>
                <a:lnTo>
                  <a:pt x="4026" y="204"/>
                </a:lnTo>
                <a:lnTo>
                  <a:pt x="4014" y="203"/>
                </a:lnTo>
                <a:lnTo>
                  <a:pt x="4002" y="201"/>
                </a:lnTo>
                <a:lnTo>
                  <a:pt x="4002" y="201"/>
                </a:lnTo>
                <a:lnTo>
                  <a:pt x="4002" y="201"/>
                </a:lnTo>
                <a:lnTo>
                  <a:pt x="3986" y="203"/>
                </a:lnTo>
                <a:lnTo>
                  <a:pt x="3970" y="206"/>
                </a:lnTo>
                <a:lnTo>
                  <a:pt x="3957" y="210"/>
                </a:lnTo>
                <a:lnTo>
                  <a:pt x="3941" y="217"/>
                </a:lnTo>
                <a:lnTo>
                  <a:pt x="3927" y="225"/>
                </a:lnTo>
                <a:lnTo>
                  <a:pt x="3913" y="234"/>
                </a:lnTo>
                <a:lnTo>
                  <a:pt x="3899" y="246"/>
                </a:lnTo>
                <a:lnTo>
                  <a:pt x="3887" y="259"/>
                </a:lnTo>
                <a:lnTo>
                  <a:pt x="3887" y="259"/>
                </a:lnTo>
                <a:lnTo>
                  <a:pt x="3874" y="273"/>
                </a:lnTo>
                <a:lnTo>
                  <a:pt x="3864" y="288"/>
                </a:lnTo>
                <a:lnTo>
                  <a:pt x="3855" y="304"/>
                </a:lnTo>
                <a:lnTo>
                  <a:pt x="3848" y="320"/>
                </a:lnTo>
                <a:lnTo>
                  <a:pt x="3841" y="339"/>
                </a:lnTo>
                <a:lnTo>
                  <a:pt x="3838" y="356"/>
                </a:lnTo>
                <a:lnTo>
                  <a:pt x="3834" y="376"/>
                </a:lnTo>
                <a:lnTo>
                  <a:pt x="3832" y="397"/>
                </a:lnTo>
                <a:lnTo>
                  <a:pt x="3832" y="397"/>
                </a:lnTo>
                <a:lnTo>
                  <a:pt x="3834" y="412"/>
                </a:lnTo>
                <a:lnTo>
                  <a:pt x="3836" y="428"/>
                </a:lnTo>
                <a:lnTo>
                  <a:pt x="3839" y="444"/>
                </a:lnTo>
                <a:lnTo>
                  <a:pt x="3843" y="459"/>
                </a:lnTo>
                <a:lnTo>
                  <a:pt x="3850" y="473"/>
                </a:lnTo>
                <a:lnTo>
                  <a:pt x="3857" y="487"/>
                </a:lnTo>
                <a:lnTo>
                  <a:pt x="3864" y="501"/>
                </a:lnTo>
                <a:lnTo>
                  <a:pt x="3874" y="514"/>
                </a:lnTo>
                <a:lnTo>
                  <a:pt x="3885" y="524"/>
                </a:lnTo>
                <a:lnTo>
                  <a:pt x="3897" y="535"/>
                </a:lnTo>
                <a:lnTo>
                  <a:pt x="3909" y="542"/>
                </a:lnTo>
                <a:lnTo>
                  <a:pt x="3923" y="550"/>
                </a:lnTo>
                <a:lnTo>
                  <a:pt x="3937" y="556"/>
                </a:lnTo>
                <a:lnTo>
                  <a:pt x="3953" y="559"/>
                </a:lnTo>
                <a:lnTo>
                  <a:pt x="3970" y="563"/>
                </a:lnTo>
                <a:lnTo>
                  <a:pt x="3988" y="563"/>
                </a:lnTo>
                <a:lnTo>
                  <a:pt x="3988" y="563"/>
                </a:lnTo>
                <a:lnTo>
                  <a:pt x="3998" y="563"/>
                </a:lnTo>
                <a:lnTo>
                  <a:pt x="4012" y="561"/>
                </a:lnTo>
                <a:lnTo>
                  <a:pt x="4026" y="556"/>
                </a:lnTo>
                <a:lnTo>
                  <a:pt x="4044" y="549"/>
                </a:lnTo>
                <a:lnTo>
                  <a:pt x="4061" y="538"/>
                </a:lnTo>
                <a:lnTo>
                  <a:pt x="4081" y="526"/>
                </a:lnTo>
                <a:lnTo>
                  <a:pt x="4100" y="508"/>
                </a:lnTo>
                <a:lnTo>
                  <a:pt x="4117" y="487"/>
                </a:lnTo>
                <a:lnTo>
                  <a:pt x="4105" y="470"/>
                </a:lnTo>
                <a:lnTo>
                  <a:pt x="4105" y="470"/>
                </a:lnTo>
                <a:lnTo>
                  <a:pt x="4095" y="480"/>
                </a:lnTo>
                <a:lnTo>
                  <a:pt x="4084" y="487"/>
                </a:lnTo>
                <a:lnTo>
                  <a:pt x="4072" y="494"/>
                </a:lnTo>
                <a:lnTo>
                  <a:pt x="4061" y="500"/>
                </a:lnTo>
                <a:lnTo>
                  <a:pt x="4049" y="505"/>
                </a:lnTo>
                <a:lnTo>
                  <a:pt x="4039" y="507"/>
                </a:lnTo>
                <a:lnTo>
                  <a:pt x="4026" y="508"/>
                </a:lnTo>
                <a:lnTo>
                  <a:pt x="4014" y="510"/>
                </a:lnTo>
                <a:lnTo>
                  <a:pt x="4014" y="510"/>
                </a:lnTo>
                <a:lnTo>
                  <a:pt x="4004" y="510"/>
                </a:lnTo>
                <a:lnTo>
                  <a:pt x="3993" y="508"/>
                </a:lnTo>
                <a:lnTo>
                  <a:pt x="3983" y="505"/>
                </a:lnTo>
                <a:lnTo>
                  <a:pt x="3972" y="501"/>
                </a:lnTo>
                <a:lnTo>
                  <a:pt x="3962" y="496"/>
                </a:lnTo>
                <a:lnTo>
                  <a:pt x="3953" y="491"/>
                </a:lnTo>
                <a:lnTo>
                  <a:pt x="3944" y="482"/>
                </a:lnTo>
                <a:lnTo>
                  <a:pt x="3936" y="475"/>
                </a:lnTo>
                <a:lnTo>
                  <a:pt x="3927" y="465"/>
                </a:lnTo>
                <a:lnTo>
                  <a:pt x="3920" y="454"/>
                </a:lnTo>
                <a:lnTo>
                  <a:pt x="3913" y="442"/>
                </a:lnTo>
                <a:lnTo>
                  <a:pt x="3908" y="428"/>
                </a:lnTo>
                <a:lnTo>
                  <a:pt x="3902" y="412"/>
                </a:lnTo>
                <a:lnTo>
                  <a:pt x="3899" y="397"/>
                </a:lnTo>
                <a:lnTo>
                  <a:pt x="3897" y="379"/>
                </a:lnTo>
                <a:lnTo>
                  <a:pt x="3895" y="360"/>
                </a:lnTo>
                <a:lnTo>
                  <a:pt x="3895" y="360"/>
                </a:lnTo>
                <a:lnTo>
                  <a:pt x="3967" y="356"/>
                </a:lnTo>
                <a:lnTo>
                  <a:pt x="4030" y="353"/>
                </a:lnTo>
                <a:lnTo>
                  <a:pt x="4103" y="346"/>
                </a:lnTo>
                <a:lnTo>
                  <a:pt x="4103" y="346"/>
                </a:lnTo>
                <a:lnTo>
                  <a:pt x="4112" y="342"/>
                </a:lnTo>
                <a:lnTo>
                  <a:pt x="4119" y="337"/>
                </a:lnTo>
                <a:lnTo>
                  <a:pt x="4121" y="330"/>
                </a:lnTo>
                <a:lnTo>
                  <a:pt x="4123" y="321"/>
                </a:lnTo>
                <a:lnTo>
                  <a:pt x="4123" y="321"/>
                </a:lnTo>
                <a:close/>
                <a:moveTo>
                  <a:pt x="4035" y="325"/>
                </a:moveTo>
                <a:lnTo>
                  <a:pt x="4035" y="325"/>
                </a:lnTo>
                <a:lnTo>
                  <a:pt x="3967" y="327"/>
                </a:lnTo>
                <a:lnTo>
                  <a:pt x="3901" y="327"/>
                </a:lnTo>
                <a:lnTo>
                  <a:pt x="3901" y="327"/>
                </a:lnTo>
                <a:lnTo>
                  <a:pt x="3906" y="304"/>
                </a:lnTo>
                <a:lnTo>
                  <a:pt x="3913" y="285"/>
                </a:lnTo>
                <a:lnTo>
                  <a:pt x="3922" y="269"/>
                </a:lnTo>
                <a:lnTo>
                  <a:pt x="3932" y="255"/>
                </a:lnTo>
                <a:lnTo>
                  <a:pt x="3944" y="245"/>
                </a:lnTo>
                <a:lnTo>
                  <a:pt x="3957" y="236"/>
                </a:lnTo>
                <a:lnTo>
                  <a:pt x="3969" y="232"/>
                </a:lnTo>
                <a:lnTo>
                  <a:pt x="3983" y="231"/>
                </a:lnTo>
                <a:lnTo>
                  <a:pt x="3984" y="231"/>
                </a:lnTo>
                <a:lnTo>
                  <a:pt x="3984" y="231"/>
                </a:lnTo>
                <a:lnTo>
                  <a:pt x="3998" y="232"/>
                </a:lnTo>
                <a:lnTo>
                  <a:pt x="4012" y="238"/>
                </a:lnTo>
                <a:lnTo>
                  <a:pt x="4025" y="245"/>
                </a:lnTo>
                <a:lnTo>
                  <a:pt x="4035" y="255"/>
                </a:lnTo>
                <a:lnTo>
                  <a:pt x="4044" y="266"/>
                </a:lnTo>
                <a:lnTo>
                  <a:pt x="4049" y="280"/>
                </a:lnTo>
                <a:lnTo>
                  <a:pt x="4053" y="293"/>
                </a:lnTo>
                <a:lnTo>
                  <a:pt x="4054" y="309"/>
                </a:lnTo>
                <a:lnTo>
                  <a:pt x="4054" y="309"/>
                </a:lnTo>
                <a:lnTo>
                  <a:pt x="4053" y="316"/>
                </a:lnTo>
                <a:lnTo>
                  <a:pt x="4049" y="321"/>
                </a:lnTo>
                <a:lnTo>
                  <a:pt x="4044" y="323"/>
                </a:lnTo>
                <a:lnTo>
                  <a:pt x="4035" y="325"/>
                </a:lnTo>
                <a:lnTo>
                  <a:pt x="4035" y="325"/>
                </a:lnTo>
                <a:close/>
                <a:moveTo>
                  <a:pt x="4386" y="201"/>
                </a:moveTo>
                <a:lnTo>
                  <a:pt x="4386" y="201"/>
                </a:lnTo>
                <a:lnTo>
                  <a:pt x="4372" y="203"/>
                </a:lnTo>
                <a:lnTo>
                  <a:pt x="4358" y="210"/>
                </a:lnTo>
                <a:lnTo>
                  <a:pt x="4344" y="217"/>
                </a:lnTo>
                <a:lnTo>
                  <a:pt x="4332" y="229"/>
                </a:lnTo>
                <a:lnTo>
                  <a:pt x="4320" y="241"/>
                </a:lnTo>
                <a:lnTo>
                  <a:pt x="4310" y="255"/>
                </a:lnTo>
                <a:lnTo>
                  <a:pt x="4290" y="285"/>
                </a:lnTo>
                <a:lnTo>
                  <a:pt x="4289" y="285"/>
                </a:lnTo>
                <a:lnTo>
                  <a:pt x="4289" y="199"/>
                </a:lnTo>
                <a:lnTo>
                  <a:pt x="4289" y="199"/>
                </a:lnTo>
                <a:lnTo>
                  <a:pt x="4261" y="210"/>
                </a:lnTo>
                <a:lnTo>
                  <a:pt x="4233" y="218"/>
                </a:lnTo>
                <a:lnTo>
                  <a:pt x="4205" y="225"/>
                </a:lnTo>
                <a:lnTo>
                  <a:pt x="4177" y="231"/>
                </a:lnTo>
                <a:lnTo>
                  <a:pt x="4177" y="248"/>
                </a:lnTo>
                <a:lnTo>
                  <a:pt x="4177" y="248"/>
                </a:lnTo>
                <a:lnTo>
                  <a:pt x="4191" y="252"/>
                </a:lnTo>
                <a:lnTo>
                  <a:pt x="4203" y="253"/>
                </a:lnTo>
                <a:lnTo>
                  <a:pt x="4212" y="257"/>
                </a:lnTo>
                <a:lnTo>
                  <a:pt x="4217" y="262"/>
                </a:lnTo>
                <a:lnTo>
                  <a:pt x="4222" y="269"/>
                </a:lnTo>
                <a:lnTo>
                  <a:pt x="4224" y="280"/>
                </a:lnTo>
                <a:lnTo>
                  <a:pt x="4226" y="292"/>
                </a:lnTo>
                <a:lnTo>
                  <a:pt x="4226" y="309"/>
                </a:lnTo>
                <a:lnTo>
                  <a:pt x="4226" y="472"/>
                </a:lnTo>
                <a:lnTo>
                  <a:pt x="4226" y="472"/>
                </a:lnTo>
                <a:lnTo>
                  <a:pt x="4226" y="489"/>
                </a:lnTo>
                <a:lnTo>
                  <a:pt x="4224" y="503"/>
                </a:lnTo>
                <a:lnTo>
                  <a:pt x="4220" y="514"/>
                </a:lnTo>
                <a:lnTo>
                  <a:pt x="4217" y="521"/>
                </a:lnTo>
                <a:lnTo>
                  <a:pt x="4210" y="526"/>
                </a:lnTo>
                <a:lnTo>
                  <a:pt x="4199" y="529"/>
                </a:lnTo>
                <a:lnTo>
                  <a:pt x="4187" y="531"/>
                </a:lnTo>
                <a:lnTo>
                  <a:pt x="4170" y="533"/>
                </a:lnTo>
                <a:lnTo>
                  <a:pt x="4170" y="554"/>
                </a:lnTo>
                <a:lnTo>
                  <a:pt x="4353" y="554"/>
                </a:lnTo>
                <a:lnTo>
                  <a:pt x="4353" y="533"/>
                </a:lnTo>
                <a:lnTo>
                  <a:pt x="4353" y="533"/>
                </a:lnTo>
                <a:lnTo>
                  <a:pt x="4332" y="531"/>
                </a:lnTo>
                <a:lnTo>
                  <a:pt x="4318" y="529"/>
                </a:lnTo>
                <a:lnTo>
                  <a:pt x="4306" y="526"/>
                </a:lnTo>
                <a:lnTo>
                  <a:pt x="4297" y="521"/>
                </a:lnTo>
                <a:lnTo>
                  <a:pt x="4292" y="514"/>
                </a:lnTo>
                <a:lnTo>
                  <a:pt x="4290" y="503"/>
                </a:lnTo>
                <a:lnTo>
                  <a:pt x="4289" y="489"/>
                </a:lnTo>
                <a:lnTo>
                  <a:pt x="4289" y="472"/>
                </a:lnTo>
                <a:lnTo>
                  <a:pt x="4289" y="328"/>
                </a:lnTo>
                <a:lnTo>
                  <a:pt x="4289" y="328"/>
                </a:lnTo>
                <a:lnTo>
                  <a:pt x="4296" y="313"/>
                </a:lnTo>
                <a:lnTo>
                  <a:pt x="4303" y="299"/>
                </a:lnTo>
                <a:lnTo>
                  <a:pt x="4311" y="288"/>
                </a:lnTo>
                <a:lnTo>
                  <a:pt x="4318" y="278"/>
                </a:lnTo>
                <a:lnTo>
                  <a:pt x="4327" y="271"/>
                </a:lnTo>
                <a:lnTo>
                  <a:pt x="4336" y="266"/>
                </a:lnTo>
                <a:lnTo>
                  <a:pt x="4344" y="262"/>
                </a:lnTo>
                <a:lnTo>
                  <a:pt x="4351" y="260"/>
                </a:lnTo>
                <a:lnTo>
                  <a:pt x="4351" y="260"/>
                </a:lnTo>
                <a:lnTo>
                  <a:pt x="4360" y="262"/>
                </a:lnTo>
                <a:lnTo>
                  <a:pt x="4369" y="266"/>
                </a:lnTo>
                <a:lnTo>
                  <a:pt x="4378" y="271"/>
                </a:lnTo>
                <a:lnTo>
                  <a:pt x="4385" y="278"/>
                </a:lnTo>
                <a:lnTo>
                  <a:pt x="4385" y="278"/>
                </a:lnTo>
                <a:lnTo>
                  <a:pt x="4390" y="280"/>
                </a:lnTo>
                <a:lnTo>
                  <a:pt x="4393" y="281"/>
                </a:lnTo>
                <a:lnTo>
                  <a:pt x="4400" y="281"/>
                </a:lnTo>
                <a:lnTo>
                  <a:pt x="4407" y="280"/>
                </a:lnTo>
                <a:lnTo>
                  <a:pt x="4407" y="280"/>
                </a:lnTo>
                <a:lnTo>
                  <a:pt x="4418" y="273"/>
                </a:lnTo>
                <a:lnTo>
                  <a:pt x="4425" y="264"/>
                </a:lnTo>
                <a:lnTo>
                  <a:pt x="4430" y="252"/>
                </a:lnTo>
                <a:lnTo>
                  <a:pt x="4432" y="241"/>
                </a:lnTo>
                <a:lnTo>
                  <a:pt x="4432" y="241"/>
                </a:lnTo>
                <a:lnTo>
                  <a:pt x="4432" y="234"/>
                </a:lnTo>
                <a:lnTo>
                  <a:pt x="4428" y="227"/>
                </a:lnTo>
                <a:lnTo>
                  <a:pt x="4425" y="220"/>
                </a:lnTo>
                <a:lnTo>
                  <a:pt x="4420" y="213"/>
                </a:lnTo>
                <a:lnTo>
                  <a:pt x="4413" y="210"/>
                </a:lnTo>
                <a:lnTo>
                  <a:pt x="4404" y="204"/>
                </a:lnTo>
                <a:lnTo>
                  <a:pt x="4395" y="203"/>
                </a:lnTo>
                <a:lnTo>
                  <a:pt x="4386" y="201"/>
                </a:lnTo>
                <a:lnTo>
                  <a:pt x="4386" y="201"/>
                </a:lnTo>
                <a:close/>
                <a:moveTo>
                  <a:pt x="4605" y="348"/>
                </a:moveTo>
                <a:lnTo>
                  <a:pt x="4605" y="348"/>
                </a:lnTo>
                <a:lnTo>
                  <a:pt x="4579" y="335"/>
                </a:lnTo>
                <a:lnTo>
                  <a:pt x="4568" y="328"/>
                </a:lnTo>
                <a:lnTo>
                  <a:pt x="4558" y="321"/>
                </a:lnTo>
                <a:lnTo>
                  <a:pt x="4549" y="313"/>
                </a:lnTo>
                <a:lnTo>
                  <a:pt x="4542" y="302"/>
                </a:lnTo>
                <a:lnTo>
                  <a:pt x="4538" y="292"/>
                </a:lnTo>
                <a:lnTo>
                  <a:pt x="4537" y="280"/>
                </a:lnTo>
                <a:lnTo>
                  <a:pt x="4537" y="280"/>
                </a:lnTo>
                <a:lnTo>
                  <a:pt x="4538" y="269"/>
                </a:lnTo>
                <a:lnTo>
                  <a:pt x="4540" y="259"/>
                </a:lnTo>
                <a:lnTo>
                  <a:pt x="4545" y="250"/>
                </a:lnTo>
                <a:lnTo>
                  <a:pt x="4552" y="241"/>
                </a:lnTo>
                <a:lnTo>
                  <a:pt x="4559" y="234"/>
                </a:lnTo>
                <a:lnTo>
                  <a:pt x="4568" y="231"/>
                </a:lnTo>
                <a:lnTo>
                  <a:pt x="4579" y="227"/>
                </a:lnTo>
                <a:lnTo>
                  <a:pt x="4589" y="225"/>
                </a:lnTo>
                <a:lnTo>
                  <a:pt x="4589" y="225"/>
                </a:lnTo>
                <a:lnTo>
                  <a:pt x="4603" y="227"/>
                </a:lnTo>
                <a:lnTo>
                  <a:pt x="4615" y="231"/>
                </a:lnTo>
                <a:lnTo>
                  <a:pt x="4628" y="238"/>
                </a:lnTo>
                <a:lnTo>
                  <a:pt x="4638" y="246"/>
                </a:lnTo>
                <a:lnTo>
                  <a:pt x="4649" y="259"/>
                </a:lnTo>
                <a:lnTo>
                  <a:pt x="4657" y="273"/>
                </a:lnTo>
                <a:lnTo>
                  <a:pt x="4664" y="286"/>
                </a:lnTo>
                <a:lnTo>
                  <a:pt x="4671" y="304"/>
                </a:lnTo>
                <a:lnTo>
                  <a:pt x="4692" y="299"/>
                </a:lnTo>
                <a:lnTo>
                  <a:pt x="4692" y="299"/>
                </a:lnTo>
                <a:lnTo>
                  <a:pt x="4683" y="257"/>
                </a:lnTo>
                <a:lnTo>
                  <a:pt x="4678" y="232"/>
                </a:lnTo>
                <a:lnTo>
                  <a:pt x="4675" y="215"/>
                </a:lnTo>
                <a:lnTo>
                  <a:pt x="4675" y="215"/>
                </a:lnTo>
                <a:lnTo>
                  <a:pt x="4661" y="210"/>
                </a:lnTo>
                <a:lnTo>
                  <a:pt x="4645" y="206"/>
                </a:lnTo>
                <a:lnTo>
                  <a:pt x="4626" y="203"/>
                </a:lnTo>
                <a:lnTo>
                  <a:pt x="4603" y="201"/>
                </a:lnTo>
                <a:lnTo>
                  <a:pt x="4603" y="201"/>
                </a:lnTo>
                <a:lnTo>
                  <a:pt x="4589" y="203"/>
                </a:lnTo>
                <a:lnTo>
                  <a:pt x="4577" y="203"/>
                </a:lnTo>
                <a:lnTo>
                  <a:pt x="4565" y="206"/>
                </a:lnTo>
                <a:lnTo>
                  <a:pt x="4554" y="210"/>
                </a:lnTo>
                <a:lnTo>
                  <a:pt x="4542" y="213"/>
                </a:lnTo>
                <a:lnTo>
                  <a:pt x="4533" y="218"/>
                </a:lnTo>
                <a:lnTo>
                  <a:pt x="4524" y="225"/>
                </a:lnTo>
                <a:lnTo>
                  <a:pt x="4516" y="231"/>
                </a:lnTo>
                <a:lnTo>
                  <a:pt x="4507" y="239"/>
                </a:lnTo>
                <a:lnTo>
                  <a:pt x="4502" y="246"/>
                </a:lnTo>
                <a:lnTo>
                  <a:pt x="4495" y="255"/>
                </a:lnTo>
                <a:lnTo>
                  <a:pt x="4491" y="264"/>
                </a:lnTo>
                <a:lnTo>
                  <a:pt x="4488" y="273"/>
                </a:lnTo>
                <a:lnTo>
                  <a:pt x="4484" y="283"/>
                </a:lnTo>
                <a:lnTo>
                  <a:pt x="4483" y="292"/>
                </a:lnTo>
                <a:lnTo>
                  <a:pt x="4483" y="302"/>
                </a:lnTo>
                <a:lnTo>
                  <a:pt x="4483" y="302"/>
                </a:lnTo>
                <a:lnTo>
                  <a:pt x="4483" y="313"/>
                </a:lnTo>
                <a:lnTo>
                  <a:pt x="4484" y="323"/>
                </a:lnTo>
                <a:lnTo>
                  <a:pt x="4488" y="334"/>
                </a:lnTo>
                <a:lnTo>
                  <a:pt x="4491" y="342"/>
                </a:lnTo>
                <a:lnTo>
                  <a:pt x="4502" y="358"/>
                </a:lnTo>
                <a:lnTo>
                  <a:pt x="4514" y="370"/>
                </a:lnTo>
                <a:lnTo>
                  <a:pt x="4530" y="383"/>
                </a:lnTo>
                <a:lnTo>
                  <a:pt x="4545" y="393"/>
                </a:lnTo>
                <a:lnTo>
                  <a:pt x="4582" y="411"/>
                </a:lnTo>
                <a:lnTo>
                  <a:pt x="4582" y="411"/>
                </a:lnTo>
                <a:lnTo>
                  <a:pt x="4608" y="425"/>
                </a:lnTo>
                <a:lnTo>
                  <a:pt x="4619" y="431"/>
                </a:lnTo>
                <a:lnTo>
                  <a:pt x="4628" y="440"/>
                </a:lnTo>
                <a:lnTo>
                  <a:pt x="4635" y="449"/>
                </a:lnTo>
                <a:lnTo>
                  <a:pt x="4640" y="459"/>
                </a:lnTo>
                <a:lnTo>
                  <a:pt x="4643" y="470"/>
                </a:lnTo>
                <a:lnTo>
                  <a:pt x="4645" y="482"/>
                </a:lnTo>
                <a:lnTo>
                  <a:pt x="4645" y="482"/>
                </a:lnTo>
                <a:lnTo>
                  <a:pt x="4643" y="494"/>
                </a:lnTo>
                <a:lnTo>
                  <a:pt x="4640" y="505"/>
                </a:lnTo>
                <a:lnTo>
                  <a:pt x="4635" y="514"/>
                </a:lnTo>
                <a:lnTo>
                  <a:pt x="4628" y="522"/>
                </a:lnTo>
                <a:lnTo>
                  <a:pt x="4619" y="529"/>
                </a:lnTo>
                <a:lnTo>
                  <a:pt x="4610" y="533"/>
                </a:lnTo>
                <a:lnTo>
                  <a:pt x="4600" y="536"/>
                </a:lnTo>
                <a:lnTo>
                  <a:pt x="4587" y="538"/>
                </a:lnTo>
                <a:lnTo>
                  <a:pt x="4587" y="538"/>
                </a:lnTo>
                <a:lnTo>
                  <a:pt x="4579" y="536"/>
                </a:lnTo>
                <a:lnTo>
                  <a:pt x="4572" y="535"/>
                </a:lnTo>
                <a:lnTo>
                  <a:pt x="4554" y="529"/>
                </a:lnTo>
                <a:lnTo>
                  <a:pt x="4540" y="521"/>
                </a:lnTo>
                <a:lnTo>
                  <a:pt x="4526" y="508"/>
                </a:lnTo>
                <a:lnTo>
                  <a:pt x="4516" y="494"/>
                </a:lnTo>
                <a:lnTo>
                  <a:pt x="4505" y="477"/>
                </a:lnTo>
                <a:lnTo>
                  <a:pt x="4497" y="459"/>
                </a:lnTo>
                <a:lnTo>
                  <a:pt x="4490" y="440"/>
                </a:lnTo>
                <a:lnTo>
                  <a:pt x="4470" y="444"/>
                </a:lnTo>
                <a:lnTo>
                  <a:pt x="4470" y="444"/>
                </a:lnTo>
                <a:lnTo>
                  <a:pt x="4470" y="468"/>
                </a:lnTo>
                <a:lnTo>
                  <a:pt x="4474" y="496"/>
                </a:lnTo>
                <a:lnTo>
                  <a:pt x="4477" y="521"/>
                </a:lnTo>
                <a:lnTo>
                  <a:pt x="4483" y="536"/>
                </a:lnTo>
                <a:lnTo>
                  <a:pt x="4483" y="536"/>
                </a:lnTo>
                <a:lnTo>
                  <a:pt x="4497" y="545"/>
                </a:lnTo>
                <a:lnTo>
                  <a:pt x="4517" y="554"/>
                </a:lnTo>
                <a:lnTo>
                  <a:pt x="4544" y="561"/>
                </a:lnTo>
                <a:lnTo>
                  <a:pt x="4559" y="563"/>
                </a:lnTo>
                <a:lnTo>
                  <a:pt x="4573" y="563"/>
                </a:lnTo>
                <a:lnTo>
                  <a:pt x="4573" y="563"/>
                </a:lnTo>
                <a:lnTo>
                  <a:pt x="4598" y="561"/>
                </a:lnTo>
                <a:lnTo>
                  <a:pt x="4621" y="556"/>
                </a:lnTo>
                <a:lnTo>
                  <a:pt x="4643" y="549"/>
                </a:lnTo>
                <a:lnTo>
                  <a:pt x="4654" y="542"/>
                </a:lnTo>
                <a:lnTo>
                  <a:pt x="4663" y="536"/>
                </a:lnTo>
                <a:lnTo>
                  <a:pt x="4673" y="529"/>
                </a:lnTo>
                <a:lnTo>
                  <a:pt x="4680" y="521"/>
                </a:lnTo>
                <a:lnTo>
                  <a:pt x="4687" y="512"/>
                </a:lnTo>
                <a:lnTo>
                  <a:pt x="4694" y="501"/>
                </a:lnTo>
                <a:lnTo>
                  <a:pt x="4699" y="491"/>
                </a:lnTo>
                <a:lnTo>
                  <a:pt x="4703" y="480"/>
                </a:lnTo>
                <a:lnTo>
                  <a:pt x="4704" y="468"/>
                </a:lnTo>
                <a:lnTo>
                  <a:pt x="4704" y="454"/>
                </a:lnTo>
                <a:lnTo>
                  <a:pt x="4704" y="454"/>
                </a:lnTo>
                <a:lnTo>
                  <a:pt x="4703" y="435"/>
                </a:lnTo>
                <a:lnTo>
                  <a:pt x="4697" y="419"/>
                </a:lnTo>
                <a:lnTo>
                  <a:pt x="4689" y="404"/>
                </a:lnTo>
                <a:lnTo>
                  <a:pt x="4677" y="390"/>
                </a:lnTo>
                <a:lnTo>
                  <a:pt x="4663" y="379"/>
                </a:lnTo>
                <a:lnTo>
                  <a:pt x="4645" y="367"/>
                </a:lnTo>
                <a:lnTo>
                  <a:pt x="4626" y="358"/>
                </a:lnTo>
                <a:lnTo>
                  <a:pt x="4605" y="348"/>
                </a:lnTo>
                <a:lnTo>
                  <a:pt x="4605" y="348"/>
                </a:lnTo>
                <a:close/>
                <a:moveTo>
                  <a:pt x="4839" y="133"/>
                </a:moveTo>
                <a:lnTo>
                  <a:pt x="4839" y="133"/>
                </a:lnTo>
                <a:lnTo>
                  <a:pt x="4848" y="133"/>
                </a:lnTo>
                <a:lnTo>
                  <a:pt x="4855" y="129"/>
                </a:lnTo>
                <a:lnTo>
                  <a:pt x="4862" y="126"/>
                </a:lnTo>
                <a:lnTo>
                  <a:pt x="4867" y="121"/>
                </a:lnTo>
                <a:lnTo>
                  <a:pt x="4872" y="115"/>
                </a:lnTo>
                <a:lnTo>
                  <a:pt x="4876" y="108"/>
                </a:lnTo>
                <a:lnTo>
                  <a:pt x="4879" y="101"/>
                </a:lnTo>
                <a:lnTo>
                  <a:pt x="4879" y="93"/>
                </a:lnTo>
                <a:lnTo>
                  <a:pt x="4879" y="93"/>
                </a:lnTo>
                <a:lnTo>
                  <a:pt x="4879" y="84"/>
                </a:lnTo>
                <a:lnTo>
                  <a:pt x="4876" y="77"/>
                </a:lnTo>
                <a:lnTo>
                  <a:pt x="4872" y="70"/>
                </a:lnTo>
                <a:lnTo>
                  <a:pt x="4867" y="65"/>
                </a:lnTo>
                <a:lnTo>
                  <a:pt x="4862" y="59"/>
                </a:lnTo>
                <a:lnTo>
                  <a:pt x="4855" y="56"/>
                </a:lnTo>
                <a:lnTo>
                  <a:pt x="4848" y="52"/>
                </a:lnTo>
                <a:lnTo>
                  <a:pt x="4839" y="52"/>
                </a:lnTo>
                <a:lnTo>
                  <a:pt x="4839" y="52"/>
                </a:lnTo>
                <a:lnTo>
                  <a:pt x="4832" y="52"/>
                </a:lnTo>
                <a:lnTo>
                  <a:pt x="4823" y="56"/>
                </a:lnTo>
                <a:lnTo>
                  <a:pt x="4818" y="59"/>
                </a:lnTo>
                <a:lnTo>
                  <a:pt x="4811" y="65"/>
                </a:lnTo>
                <a:lnTo>
                  <a:pt x="4806" y="70"/>
                </a:lnTo>
                <a:lnTo>
                  <a:pt x="4802" y="77"/>
                </a:lnTo>
                <a:lnTo>
                  <a:pt x="4801" y="84"/>
                </a:lnTo>
                <a:lnTo>
                  <a:pt x="4799" y="93"/>
                </a:lnTo>
                <a:lnTo>
                  <a:pt x="4799" y="93"/>
                </a:lnTo>
                <a:lnTo>
                  <a:pt x="4801" y="101"/>
                </a:lnTo>
                <a:lnTo>
                  <a:pt x="4802" y="108"/>
                </a:lnTo>
                <a:lnTo>
                  <a:pt x="4806" y="115"/>
                </a:lnTo>
                <a:lnTo>
                  <a:pt x="4811" y="121"/>
                </a:lnTo>
                <a:lnTo>
                  <a:pt x="4816" y="126"/>
                </a:lnTo>
                <a:lnTo>
                  <a:pt x="4823" y="129"/>
                </a:lnTo>
                <a:lnTo>
                  <a:pt x="4830" y="133"/>
                </a:lnTo>
                <a:lnTo>
                  <a:pt x="4839" y="133"/>
                </a:lnTo>
                <a:lnTo>
                  <a:pt x="4839" y="133"/>
                </a:lnTo>
                <a:close/>
                <a:moveTo>
                  <a:pt x="4876" y="470"/>
                </a:moveTo>
                <a:lnTo>
                  <a:pt x="4876" y="199"/>
                </a:lnTo>
                <a:lnTo>
                  <a:pt x="4876" y="199"/>
                </a:lnTo>
                <a:lnTo>
                  <a:pt x="4848" y="210"/>
                </a:lnTo>
                <a:lnTo>
                  <a:pt x="4822" y="218"/>
                </a:lnTo>
                <a:lnTo>
                  <a:pt x="4792" y="225"/>
                </a:lnTo>
                <a:lnTo>
                  <a:pt x="4762" y="231"/>
                </a:lnTo>
                <a:lnTo>
                  <a:pt x="4762" y="250"/>
                </a:lnTo>
                <a:lnTo>
                  <a:pt x="4762" y="250"/>
                </a:lnTo>
                <a:lnTo>
                  <a:pt x="4778" y="252"/>
                </a:lnTo>
                <a:lnTo>
                  <a:pt x="4790" y="255"/>
                </a:lnTo>
                <a:lnTo>
                  <a:pt x="4799" y="259"/>
                </a:lnTo>
                <a:lnTo>
                  <a:pt x="4806" y="264"/>
                </a:lnTo>
                <a:lnTo>
                  <a:pt x="4809" y="271"/>
                </a:lnTo>
                <a:lnTo>
                  <a:pt x="4811" y="280"/>
                </a:lnTo>
                <a:lnTo>
                  <a:pt x="4813" y="307"/>
                </a:lnTo>
                <a:lnTo>
                  <a:pt x="4813" y="470"/>
                </a:lnTo>
                <a:lnTo>
                  <a:pt x="4813" y="470"/>
                </a:lnTo>
                <a:lnTo>
                  <a:pt x="4813" y="489"/>
                </a:lnTo>
                <a:lnTo>
                  <a:pt x="4811" y="503"/>
                </a:lnTo>
                <a:lnTo>
                  <a:pt x="4808" y="512"/>
                </a:lnTo>
                <a:lnTo>
                  <a:pt x="4804" y="521"/>
                </a:lnTo>
                <a:lnTo>
                  <a:pt x="4797" y="526"/>
                </a:lnTo>
                <a:lnTo>
                  <a:pt x="4787" y="529"/>
                </a:lnTo>
                <a:lnTo>
                  <a:pt x="4774" y="531"/>
                </a:lnTo>
                <a:lnTo>
                  <a:pt x="4757" y="533"/>
                </a:lnTo>
                <a:lnTo>
                  <a:pt x="4757" y="554"/>
                </a:lnTo>
                <a:lnTo>
                  <a:pt x="4932" y="554"/>
                </a:lnTo>
                <a:lnTo>
                  <a:pt x="4932" y="533"/>
                </a:lnTo>
                <a:lnTo>
                  <a:pt x="4932" y="533"/>
                </a:lnTo>
                <a:lnTo>
                  <a:pt x="4914" y="531"/>
                </a:lnTo>
                <a:lnTo>
                  <a:pt x="4902" y="529"/>
                </a:lnTo>
                <a:lnTo>
                  <a:pt x="4891" y="526"/>
                </a:lnTo>
                <a:lnTo>
                  <a:pt x="4884" y="521"/>
                </a:lnTo>
                <a:lnTo>
                  <a:pt x="4879" y="512"/>
                </a:lnTo>
                <a:lnTo>
                  <a:pt x="4877" y="503"/>
                </a:lnTo>
                <a:lnTo>
                  <a:pt x="4876" y="489"/>
                </a:lnTo>
                <a:lnTo>
                  <a:pt x="4876" y="470"/>
                </a:lnTo>
                <a:lnTo>
                  <a:pt x="4876" y="470"/>
                </a:lnTo>
                <a:close/>
                <a:moveTo>
                  <a:pt x="5119" y="519"/>
                </a:moveTo>
                <a:lnTo>
                  <a:pt x="5119" y="519"/>
                </a:lnTo>
                <a:lnTo>
                  <a:pt x="5110" y="517"/>
                </a:lnTo>
                <a:lnTo>
                  <a:pt x="5103" y="515"/>
                </a:lnTo>
                <a:lnTo>
                  <a:pt x="5094" y="512"/>
                </a:lnTo>
                <a:lnTo>
                  <a:pt x="5087" y="505"/>
                </a:lnTo>
                <a:lnTo>
                  <a:pt x="5082" y="494"/>
                </a:lnTo>
                <a:lnTo>
                  <a:pt x="5077" y="482"/>
                </a:lnTo>
                <a:lnTo>
                  <a:pt x="5073" y="465"/>
                </a:lnTo>
                <a:lnTo>
                  <a:pt x="5071" y="444"/>
                </a:lnTo>
                <a:lnTo>
                  <a:pt x="5071" y="241"/>
                </a:lnTo>
                <a:lnTo>
                  <a:pt x="5157" y="241"/>
                </a:lnTo>
                <a:lnTo>
                  <a:pt x="5157" y="241"/>
                </a:lnTo>
                <a:lnTo>
                  <a:pt x="5161" y="239"/>
                </a:lnTo>
                <a:lnTo>
                  <a:pt x="5162" y="236"/>
                </a:lnTo>
                <a:lnTo>
                  <a:pt x="5166" y="227"/>
                </a:lnTo>
                <a:lnTo>
                  <a:pt x="5166" y="218"/>
                </a:lnTo>
                <a:lnTo>
                  <a:pt x="5164" y="215"/>
                </a:lnTo>
                <a:lnTo>
                  <a:pt x="5162" y="211"/>
                </a:lnTo>
                <a:lnTo>
                  <a:pt x="5071" y="211"/>
                </a:lnTo>
                <a:lnTo>
                  <a:pt x="5071" y="103"/>
                </a:lnTo>
                <a:lnTo>
                  <a:pt x="5061" y="101"/>
                </a:lnTo>
                <a:lnTo>
                  <a:pt x="5009" y="154"/>
                </a:lnTo>
                <a:lnTo>
                  <a:pt x="5009" y="211"/>
                </a:lnTo>
                <a:lnTo>
                  <a:pt x="4972" y="211"/>
                </a:lnTo>
                <a:lnTo>
                  <a:pt x="4951" y="234"/>
                </a:lnTo>
                <a:lnTo>
                  <a:pt x="4954" y="241"/>
                </a:lnTo>
                <a:lnTo>
                  <a:pt x="5009" y="241"/>
                </a:lnTo>
                <a:lnTo>
                  <a:pt x="5009" y="470"/>
                </a:lnTo>
                <a:lnTo>
                  <a:pt x="5009" y="470"/>
                </a:lnTo>
                <a:lnTo>
                  <a:pt x="5010" y="491"/>
                </a:lnTo>
                <a:lnTo>
                  <a:pt x="5014" y="510"/>
                </a:lnTo>
                <a:lnTo>
                  <a:pt x="5021" y="526"/>
                </a:lnTo>
                <a:lnTo>
                  <a:pt x="5030" y="540"/>
                </a:lnTo>
                <a:lnTo>
                  <a:pt x="5040" y="550"/>
                </a:lnTo>
                <a:lnTo>
                  <a:pt x="5054" y="557"/>
                </a:lnTo>
                <a:lnTo>
                  <a:pt x="5070" y="563"/>
                </a:lnTo>
                <a:lnTo>
                  <a:pt x="5087" y="563"/>
                </a:lnTo>
                <a:lnTo>
                  <a:pt x="5087" y="563"/>
                </a:lnTo>
                <a:lnTo>
                  <a:pt x="5101" y="561"/>
                </a:lnTo>
                <a:lnTo>
                  <a:pt x="5110" y="557"/>
                </a:lnTo>
                <a:lnTo>
                  <a:pt x="5120" y="554"/>
                </a:lnTo>
                <a:lnTo>
                  <a:pt x="5175" y="526"/>
                </a:lnTo>
                <a:lnTo>
                  <a:pt x="5168" y="505"/>
                </a:lnTo>
                <a:lnTo>
                  <a:pt x="5168" y="505"/>
                </a:lnTo>
                <a:lnTo>
                  <a:pt x="5157" y="510"/>
                </a:lnTo>
                <a:lnTo>
                  <a:pt x="5147" y="514"/>
                </a:lnTo>
                <a:lnTo>
                  <a:pt x="5133" y="517"/>
                </a:lnTo>
                <a:lnTo>
                  <a:pt x="5119" y="519"/>
                </a:lnTo>
                <a:lnTo>
                  <a:pt x="5119" y="519"/>
                </a:lnTo>
                <a:close/>
                <a:moveTo>
                  <a:pt x="5286" y="131"/>
                </a:moveTo>
                <a:lnTo>
                  <a:pt x="5286" y="131"/>
                </a:lnTo>
                <a:lnTo>
                  <a:pt x="5295" y="131"/>
                </a:lnTo>
                <a:lnTo>
                  <a:pt x="5302" y="129"/>
                </a:lnTo>
                <a:lnTo>
                  <a:pt x="5307" y="124"/>
                </a:lnTo>
                <a:lnTo>
                  <a:pt x="5313" y="121"/>
                </a:lnTo>
                <a:lnTo>
                  <a:pt x="5318" y="114"/>
                </a:lnTo>
                <a:lnTo>
                  <a:pt x="5321" y="108"/>
                </a:lnTo>
                <a:lnTo>
                  <a:pt x="5323" y="101"/>
                </a:lnTo>
                <a:lnTo>
                  <a:pt x="5323" y="94"/>
                </a:lnTo>
                <a:lnTo>
                  <a:pt x="5323" y="94"/>
                </a:lnTo>
                <a:lnTo>
                  <a:pt x="5323" y="86"/>
                </a:lnTo>
                <a:lnTo>
                  <a:pt x="5321" y="79"/>
                </a:lnTo>
                <a:lnTo>
                  <a:pt x="5318" y="72"/>
                </a:lnTo>
                <a:lnTo>
                  <a:pt x="5313" y="66"/>
                </a:lnTo>
                <a:lnTo>
                  <a:pt x="5307" y="61"/>
                </a:lnTo>
                <a:lnTo>
                  <a:pt x="5302" y="58"/>
                </a:lnTo>
                <a:lnTo>
                  <a:pt x="5295" y="56"/>
                </a:lnTo>
                <a:lnTo>
                  <a:pt x="5288" y="54"/>
                </a:lnTo>
                <a:lnTo>
                  <a:pt x="5288" y="54"/>
                </a:lnTo>
                <a:lnTo>
                  <a:pt x="5279" y="56"/>
                </a:lnTo>
                <a:lnTo>
                  <a:pt x="5272" y="58"/>
                </a:lnTo>
                <a:lnTo>
                  <a:pt x="5265" y="61"/>
                </a:lnTo>
                <a:lnTo>
                  <a:pt x="5260" y="66"/>
                </a:lnTo>
                <a:lnTo>
                  <a:pt x="5255" y="72"/>
                </a:lnTo>
                <a:lnTo>
                  <a:pt x="5251" y="79"/>
                </a:lnTo>
                <a:lnTo>
                  <a:pt x="5250" y="86"/>
                </a:lnTo>
                <a:lnTo>
                  <a:pt x="5248" y="94"/>
                </a:lnTo>
                <a:lnTo>
                  <a:pt x="5248" y="94"/>
                </a:lnTo>
                <a:lnTo>
                  <a:pt x="5250" y="101"/>
                </a:lnTo>
                <a:lnTo>
                  <a:pt x="5251" y="108"/>
                </a:lnTo>
                <a:lnTo>
                  <a:pt x="5255" y="114"/>
                </a:lnTo>
                <a:lnTo>
                  <a:pt x="5260" y="121"/>
                </a:lnTo>
                <a:lnTo>
                  <a:pt x="5265" y="124"/>
                </a:lnTo>
                <a:lnTo>
                  <a:pt x="5272" y="129"/>
                </a:lnTo>
                <a:lnTo>
                  <a:pt x="5279" y="131"/>
                </a:lnTo>
                <a:lnTo>
                  <a:pt x="5286" y="131"/>
                </a:lnTo>
                <a:lnTo>
                  <a:pt x="5286" y="131"/>
                </a:lnTo>
                <a:close/>
                <a:moveTo>
                  <a:pt x="5421" y="131"/>
                </a:moveTo>
                <a:lnTo>
                  <a:pt x="5421" y="131"/>
                </a:lnTo>
                <a:lnTo>
                  <a:pt x="5428" y="131"/>
                </a:lnTo>
                <a:lnTo>
                  <a:pt x="5435" y="129"/>
                </a:lnTo>
                <a:lnTo>
                  <a:pt x="5442" y="124"/>
                </a:lnTo>
                <a:lnTo>
                  <a:pt x="5447" y="121"/>
                </a:lnTo>
                <a:lnTo>
                  <a:pt x="5452" y="114"/>
                </a:lnTo>
                <a:lnTo>
                  <a:pt x="5456" y="108"/>
                </a:lnTo>
                <a:lnTo>
                  <a:pt x="5458" y="101"/>
                </a:lnTo>
                <a:lnTo>
                  <a:pt x="5458" y="94"/>
                </a:lnTo>
                <a:lnTo>
                  <a:pt x="5458" y="94"/>
                </a:lnTo>
                <a:lnTo>
                  <a:pt x="5458" y="86"/>
                </a:lnTo>
                <a:lnTo>
                  <a:pt x="5456" y="79"/>
                </a:lnTo>
                <a:lnTo>
                  <a:pt x="5452" y="72"/>
                </a:lnTo>
                <a:lnTo>
                  <a:pt x="5447" y="66"/>
                </a:lnTo>
                <a:lnTo>
                  <a:pt x="5442" y="61"/>
                </a:lnTo>
                <a:lnTo>
                  <a:pt x="5435" y="58"/>
                </a:lnTo>
                <a:lnTo>
                  <a:pt x="5428" y="56"/>
                </a:lnTo>
                <a:lnTo>
                  <a:pt x="5421" y="54"/>
                </a:lnTo>
                <a:lnTo>
                  <a:pt x="5421" y="54"/>
                </a:lnTo>
                <a:lnTo>
                  <a:pt x="5414" y="56"/>
                </a:lnTo>
                <a:lnTo>
                  <a:pt x="5405" y="58"/>
                </a:lnTo>
                <a:lnTo>
                  <a:pt x="5400" y="61"/>
                </a:lnTo>
                <a:lnTo>
                  <a:pt x="5393" y="66"/>
                </a:lnTo>
                <a:lnTo>
                  <a:pt x="5390" y="72"/>
                </a:lnTo>
                <a:lnTo>
                  <a:pt x="5386" y="79"/>
                </a:lnTo>
                <a:lnTo>
                  <a:pt x="5384" y="86"/>
                </a:lnTo>
                <a:lnTo>
                  <a:pt x="5383" y="94"/>
                </a:lnTo>
                <a:lnTo>
                  <a:pt x="5383" y="94"/>
                </a:lnTo>
                <a:lnTo>
                  <a:pt x="5384" y="101"/>
                </a:lnTo>
                <a:lnTo>
                  <a:pt x="5386" y="108"/>
                </a:lnTo>
                <a:lnTo>
                  <a:pt x="5390" y="114"/>
                </a:lnTo>
                <a:lnTo>
                  <a:pt x="5393" y="121"/>
                </a:lnTo>
                <a:lnTo>
                  <a:pt x="5400" y="124"/>
                </a:lnTo>
                <a:lnTo>
                  <a:pt x="5405" y="129"/>
                </a:lnTo>
                <a:lnTo>
                  <a:pt x="5412" y="131"/>
                </a:lnTo>
                <a:lnTo>
                  <a:pt x="5421" y="131"/>
                </a:lnTo>
                <a:lnTo>
                  <a:pt x="5421" y="131"/>
                </a:lnTo>
                <a:close/>
                <a:moveTo>
                  <a:pt x="5494" y="512"/>
                </a:moveTo>
                <a:lnTo>
                  <a:pt x="5494" y="512"/>
                </a:lnTo>
                <a:lnTo>
                  <a:pt x="5489" y="510"/>
                </a:lnTo>
                <a:lnTo>
                  <a:pt x="5486" y="508"/>
                </a:lnTo>
                <a:lnTo>
                  <a:pt x="5480" y="507"/>
                </a:lnTo>
                <a:lnTo>
                  <a:pt x="5475" y="501"/>
                </a:lnTo>
                <a:lnTo>
                  <a:pt x="5472" y="494"/>
                </a:lnTo>
                <a:lnTo>
                  <a:pt x="5470" y="487"/>
                </a:lnTo>
                <a:lnTo>
                  <a:pt x="5468" y="477"/>
                </a:lnTo>
                <a:lnTo>
                  <a:pt x="5466" y="465"/>
                </a:lnTo>
                <a:lnTo>
                  <a:pt x="5466" y="318"/>
                </a:lnTo>
                <a:lnTo>
                  <a:pt x="5466" y="318"/>
                </a:lnTo>
                <a:lnTo>
                  <a:pt x="5465" y="290"/>
                </a:lnTo>
                <a:lnTo>
                  <a:pt x="5463" y="276"/>
                </a:lnTo>
                <a:lnTo>
                  <a:pt x="5459" y="264"/>
                </a:lnTo>
                <a:lnTo>
                  <a:pt x="5454" y="252"/>
                </a:lnTo>
                <a:lnTo>
                  <a:pt x="5449" y="241"/>
                </a:lnTo>
                <a:lnTo>
                  <a:pt x="5440" y="232"/>
                </a:lnTo>
                <a:lnTo>
                  <a:pt x="5431" y="222"/>
                </a:lnTo>
                <a:lnTo>
                  <a:pt x="5431" y="222"/>
                </a:lnTo>
                <a:lnTo>
                  <a:pt x="5417" y="213"/>
                </a:lnTo>
                <a:lnTo>
                  <a:pt x="5402" y="206"/>
                </a:lnTo>
                <a:lnTo>
                  <a:pt x="5384" y="203"/>
                </a:lnTo>
                <a:lnTo>
                  <a:pt x="5367" y="201"/>
                </a:lnTo>
                <a:lnTo>
                  <a:pt x="5367" y="201"/>
                </a:lnTo>
                <a:lnTo>
                  <a:pt x="5349" y="206"/>
                </a:lnTo>
                <a:lnTo>
                  <a:pt x="5332" y="211"/>
                </a:lnTo>
                <a:lnTo>
                  <a:pt x="5297" y="225"/>
                </a:lnTo>
                <a:lnTo>
                  <a:pt x="5269" y="243"/>
                </a:lnTo>
                <a:lnTo>
                  <a:pt x="5246" y="257"/>
                </a:lnTo>
                <a:lnTo>
                  <a:pt x="5246" y="257"/>
                </a:lnTo>
                <a:lnTo>
                  <a:pt x="5236" y="264"/>
                </a:lnTo>
                <a:lnTo>
                  <a:pt x="5229" y="273"/>
                </a:lnTo>
                <a:lnTo>
                  <a:pt x="5223" y="280"/>
                </a:lnTo>
                <a:lnTo>
                  <a:pt x="5222" y="288"/>
                </a:lnTo>
                <a:lnTo>
                  <a:pt x="5222" y="288"/>
                </a:lnTo>
                <a:lnTo>
                  <a:pt x="5222" y="293"/>
                </a:lnTo>
                <a:lnTo>
                  <a:pt x="5225" y="300"/>
                </a:lnTo>
                <a:lnTo>
                  <a:pt x="5229" y="306"/>
                </a:lnTo>
                <a:lnTo>
                  <a:pt x="5234" y="311"/>
                </a:lnTo>
                <a:lnTo>
                  <a:pt x="5244" y="318"/>
                </a:lnTo>
                <a:lnTo>
                  <a:pt x="5251" y="321"/>
                </a:lnTo>
                <a:lnTo>
                  <a:pt x="5257" y="321"/>
                </a:lnTo>
                <a:lnTo>
                  <a:pt x="5257" y="321"/>
                </a:lnTo>
                <a:lnTo>
                  <a:pt x="5264" y="320"/>
                </a:lnTo>
                <a:lnTo>
                  <a:pt x="5271" y="316"/>
                </a:lnTo>
                <a:lnTo>
                  <a:pt x="5276" y="311"/>
                </a:lnTo>
                <a:lnTo>
                  <a:pt x="5279" y="302"/>
                </a:lnTo>
                <a:lnTo>
                  <a:pt x="5279" y="302"/>
                </a:lnTo>
                <a:lnTo>
                  <a:pt x="5285" y="286"/>
                </a:lnTo>
                <a:lnTo>
                  <a:pt x="5290" y="273"/>
                </a:lnTo>
                <a:lnTo>
                  <a:pt x="5297" y="260"/>
                </a:lnTo>
                <a:lnTo>
                  <a:pt x="5304" y="252"/>
                </a:lnTo>
                <a:lnTo>
                  <a:pt x="5304" y="252"/>
                </a:lnTo>
                <a:lnTo>
                  <a:pt x="5311" y="245"/>
                </a:lnTo>
                <a:lnTo>
                  <a:pt x="5318" y="241"/>
                </a:lnTo>
                <a:lnTo>
                  <a:pt x="5328" y="238"/>
                </a:lnTo>
                <a:lnTo>
                  <a:pt x="5339" y="236"/>
                </a:lnTo>
                <a:lnTo>
                  <a:pt x="5339" y="236"/>
                </a:lnTo>
                <a:lnTo>
                  <a:pt x="5353" y="238"/>
                </a:lnTo>
                <a:lnTo>
                  <a:pt x="5367" y="241"/>
                </a:lnTo>
                <a:lnTo>
                  <a:pt x="5377" y="250"/>
                </a:lnTo>
                <a:lnTo>
                  <a:pt x="5388" y="259"/>
                </a:lnTo>
                <a:lnTo>
                  <a:pt x="5395" y="273"/>
                </a:lnTo>
                <a:lnTo>
                  <a:pt x="5402" y="286"/>
                </a:lnTo>
                <a:lnTo>
                  <a:pt x="5405" y="304"/>
                </a:lnTo>
                <a:lnTo>
                  <a:pt x="5405" y="325"/>
                </a:lnTo>
                <a:lnTo>
                  <a:pt x="5405" y="339"/>
                </a:lnTo>
                <a:lnTo>
                  <a:pt x="5405" y="339"/>
                </a:lnTo>
                <a:lnTo>
                  <a:pt x="5398" y="344"/>
                </a:lnTo>
                <a:lnTo>
                  <a:pt x="5386" y="351"/>
                </a:lnTo>
                <a:lnTo>
                  <a:pt x="5356" y="363"/>
                </a:lnTo>
                <a:lnTo>
                  <a:pt x="5320" y="377"/>
                </a:lnTo>
                <a:lnTo>
                  <a:pt x="5283" y="390"/>
                </a:lnTo>
                <a:lnTo>
                  <a:pt x="5283" y="390"/>
                </a:lnTo>
                <a:lnTo>
                  <a:pt x="5267" y="397"/>
                </a:lnTo>
                <a:lnTo>
                  <a:pt x="5255" y="404"/>
                </a:lnTo>
                <a:lnTo>
                  <a:pt x="5243" y="411"/>
                </a:lnTo>
                <a:lnTo>
                  <a:pt x="5234" y="419"/>
                </a:lnTo>
                <a:lnTo>
                  <a:pt x="5227" y="430"/>
                </a:lnTo>
                <a:lnTo>
                  <a:pt x="5222" y="442"/>
                </a:lnTo>
                <a:lnTo>
                  <a:pt x="5220" y="454"/>
                </a:lnTo>
                <a:lnTo>
                  <a:pt x="5218" y="468"/>
                </a:lnTo>
                <a:lnTo>
                  <a:pt x="5218" y="468"/>
                </a:lnTo>
                <a:lnTo>
                  <a:pt x="5220" y="486"/>
                </a:lnTo>
                <a:lnTo>
                  <a:pt x="5225" y="503"/>
                </a:lnTo>
                <a:lnTo>
                  <a:pt x="5234" y="519"/>
                </a:lnTo>
                <a:lnTo>
                  <a:pt x="5244" y="535"/>
                </a:lnTo>
                <a:lnTo>
                  <a:pt x="5258" y="547"/>
                </a:lnTo>
                <a:lnTo>
                  <a:pt x="5274" y="556"/>
                </a:lnTo>
                <a:lnTo>
                  <a:pt x="5293" y="561"/>
                </a:lnTo>
                <a:lnTo>
                  <a:pt x="5304" y="563"/>
                </a:lnTo>
                <a:lnTo>
                  <a:pt x="5314" y="563"/>
                </a:lnTo>
                <a:lnTo>
                  <a:pt x="5314" y="563"/>
                </a:lnTo>
                <a:lnTo>
                  <a:pt x="5323" y="563"/>
                </a:lnTo>
                <a:lnTo>
                  <a:pt x="5334" y="559"/>
                </a:lnTo>
                <a:lnTo>
                  <a:pt x="5346" y="552"/>
                </a:lnTo>
                <a:lnTo>
                  <a:pt x="5358" y="547"/>
                </a:lnTo>
                <a:lnTo>
                  <a:pt x="5383" y="529"/>
                </a:lnTo>
                <a:lnTo>
                  <a:pt x="5407" y="514"/>
                </a:lnTo>
                <a:lnTo>
                  <a:pt x="5407" y="514"/>
                </a:lnTo>
                <a:lnTo>
                  <a:pt x="5410" y="522"/>
                </a:lnTo>
                <a:lnTo>
                  <a:pt x="5414" y="531"/>
                </a:lnTo>
                <a:lnTo>
                  <a:pt x="5419" y="540"/>
                </a:lnTo>
                <a:lnTo>
                  <a:pt x="5426" y="549"/>
                </a:lnTo>
                <a:lnTo>
                  <a:pt x="5426" y="549"/>
                </a:lnTo>
                <a:lnTo>
                  <a:pt x="5435" y="554"/>
                </a:lnTo>
                <a:lnTo>
                  <a:pt x="5444" y="559"/>
                </a:lnTo>
                <a:lnTo>
                  <a:pt x="5454" y="563"/>
                </a:lnTo>
                <a:lnTo>
                  <a:pt x="5465" y="563"/>
                </a:lnTo>
                <a:lnTo>
                  <a:pt x="5531" y="522"/>
                </a:lnTo>
                <a:lnTo>
                  <a:pt x="5524" y="503"/>
                </a:lnTo>
                <a:lnTo>
                  <a:pt x="5524" y="503"/>
                </a:lnTo>
                <a:lnTo>
                  <a:pt x="5510" y="508"/>
                </a:lnTo>
                <a:lnTo>
                  <a:pt x="5503" y="510"/>
                </a:lnTo>
                <a:lnTo>
                  <a:pt x="5494" y="512"/>
                </a:lnTo>
                <a:lnTo>
                  <a:pt x="5494" y="512"/>
                </a:lnTo>
                <a:close/>
                <a:moveTo>
                  <a:pt x="5405" y="487"/>
                </a:moveTo>
                <a:lnTo>
                  <a:pt x="5405" y="487"/>
                </a:lnTo>
                <a:lnTo>
                  <a:pt x="5393" y="498"/>
                </a:lnTo>
                <a:lnTo>
                  <a:pt x="5376" y="507"/>
                </a:lnTo>
                <a:lnTo>
                  <a:pt x="5358" y="514"/>
                </a:lnTo>
                <a:lnTo>
                  <a:pt x="5342" y="515"/>
                </a:lnTo>
                <a:lnTo>
                  <a:pt x="5342" y="515"/>
                </a:lnTo>
                <a:lnTo>
                  <a:pt x="5332" y="515"/>
                </a:lnTo>
                <a:lnTo>
                  <a:pt x="5323" y="512"/>
                </a:lnTo>
                <a:lnTo>
                  <a:pt x="5314" y="508"/>
                </a:lnTo>
                <a:lnTo>
                  <a:pt x="5306" y="501"/>
                </a:lnTo>
                <a:lnTo>
                  <a:pt x="5297" y="493"/>
                </a:lnTo>
                <a:lnTo>
                  <a:pt x="5292" y="482"/>
                </a:lnTo>
                <a:lnTo>
                  <a:pt x="5286" y="470"/>
                </a:lnTo>
                <a:lnTo>
                  <a:pt x="5286" y="456"/>
                </a:lnTo>
                <a:lnTo>
                  <a:pt x="5286" y="456"/>
                </a:lnTo>
                <a:lnTo>
                  <a:pt x="5286" y="445"/>
                </a:lnTo>
                <a:lnTo>
                  <a:pt x="5288" y="437"/>
                </a:lnTo>
                <a:lnTo>
                  <a:pt x="5293" y="428"/>
                </a:lnTo>
                <a:lnTo>
                  <a:pt x="5299" y="421"/>
                </a:lnTo>
                <a:lnTo>
                  <a:pt x="5306" y="416"/>
                </a:lnTo>
                <a:lnTo>
                  <a:pt x="5314" y="409"/>
                </a:lnTo>
                <a:lnTo>
                  <a:pt x="5334" y="398"/>
                </a:lnTo>
                <a:lnTo>
                  <a:pt x="5334" y="398"/>
                </a:lnTo>
                <a:lnTo>
                  <a:pt x="5370" y="383"/>
                </a:lnTo>
                <a:lnTo>
                  <a:pt x="5405" y="365"/>
                </a:lnTo>
                <a:lnTo>
                  <a:pt x="5405" y="487"/>
                </a:lnTo>
                <a:close/>
                <a:moveTo>
                  <a:pt x="5753" y="505"/>
                </a:moveTo>
                <a:lnTo>
                  <a:pt x="5753" y="505"/>
                </a:lnTo>
                <a:lnTo>
                  <a:pt x="5744" y="510"/>
                </a:lnTo>
                <a:lnTo>
                  <a:pt x="5732" y="514"/>
                </a:lnTo>
                <a:lnTo>
                  <a:pt x="5718" y="517"/>
                </a:lnTo>
                <a:lnTo>
                  <a:pt x="5704" y="519"/>
                </a:lnTo>
                <a:lnTo>
                  <a:pt x="5704" y="519"/>
                </a:lnTo>
                <a:lnTo>
                  <a:pt x="5697" y="517"/>
                </a:lnTo>
                <a:lnTo>
                  <a:pt x="5688" y="515"/>
                </a:lnTo>
                <a:lnTo>
                  <a:pt x="5681" y="512"/>
                </a:lnTo>
                <a:lnTo>
                  <a:pt x="5674" y="505"/>
                </a:lnTo>
                <a:lnTo>
                  <a:pt x="5667" y="494"/>
                </a:lnTo>
                <a:lnTo>
                  <a:pt x="5662" y="482"/>
                </a:lnTo>
                <a:lnTo>
                  <a:pt x="5659" y="465"/>
                </a:lnTo>
                <a:lnTo>
                  <a:pt x="5659" y="444"/>
                </a:lnTo>
                <a:lnTo>
                  <a:pt x="5659" y="241"/>
                </a:lnTo>
                <a:lnTo>
                  <a:pt x="5743" y="241"/>
                </a:lnTo>
                <a:lnTo>
                  <a:pt x="5743" y="241"/>
                </a:lnTo>
                <a:lnTo>
                  <a:pt x="5746" y="239"/>
                </a:lnTo>
                <a:lnTo>
                  <a:pt x="5750" y="236"/>
                </a:lnTo>
                <a:lnTo>
                  <a:pt x="5751" y="227"/>
                </a:lnTo>
                <a:lnTo>
                  <a:pt x="5751" y="218"/>
                </a:lnTo>
                <a:lnTo>
                  <a:pt x="5750" y="215"/>
                </a:lnTo>
                <a:lnTo>
                  <a:pt x="5748" y="211"/>
                </a:lnTo>
                <a:lnTo>
                  <a:pt x="5659" y="211"/>
                </a:lnTo>
                <a:lnTo>
                  <a:pt x="5659" y="103"/>
                </a:lnTo>
                <a:lnTo>
                  <a:pt x="5646" y="101"/>
                </a:lnTo>
                <a:lnTo>
                  <a:pt x="5596" y="154"/>
                </a:lnTo>
                <a:lnTo>
                  <a:pt x="5596" y="211"/>
                </a:lnTo>
                <a:lnTo>
                  <a:pt x="5559" y="211"/>
                </a:lnTo>
                <a:lnTo>
                  <a:pt x="5536" y="234"/>
                </a:lnTo>
                <a:lnTo>
                  <a:pt x="5540" y="241"/>
                </a:lnTo>
                <a:lnTo>
                  <a:pt x="5596" y="241"/>
                </a:lnTo>
                <a:lnTo>
                  <a:pt x="5596" y="470"/>
                </a:lnTo>
                <a:lnTo>
                  <a:pt x="5596" y="470"/>
                </a:lnTo>
                <a:lnTo>
                  <a:pt x="5596" y="491"/>
                </a:lnTo>
                <a:lnTo>
                  <a:pt x="5601" y="510"/>
                </a:lnTo>
                <a:lnTo>
                  <a:pt x="5606" y="526"/>
                </a:lnTo>
                <a:lnTo>
                  <a:pt x="5615" y="540"/>
                </a:lnTo>
                <a:lnTo>
                  <a:pt x="5627" y="550"/>
                </a:lnTo>
                <a:lnTo>
                  <a:pt x="5639" y="557"/>
                </a:lnTo>
                <a:lnTo>
                  <a:pt x="5655" y="563"/>
                </a:lnTo>
                <a:lnTo>
                  <a:pt x="5673" y="563"/>
                </a:lnTo>
                <a:lnTo>
                  <a:pt x="5673" y="563"/>
                </a:lnTo>
                <a:lnTo>
                  <a:pt x="5687" y="561"/>
                </a:lnTo>
                <a:lnTo>
                  <a:pt x="5697" y="557"/>
                </a:lnTo>
                <a:lnTo>
                  <a:pt x="5706" y="554"/>
                </a:lnTo>
                <a:lnTo>
                  <a:pt x="5760" y="526"/>
                </a:lnTo>
                <a:lnTo>
                  <a:pt x="5753" y="505"/>
                </a:lnTo>
                <a:close/>
                <a:moveTo>
                  <a:pt x="1480" y="145"/>
                </a:moveTo>
                <a:lnTo>
                  <a:pt x="2066" y="145"/>
                </a:lnTo>
                <a:lnTo>
                  <a:pt x="2066" y="5"/>
                </a:lnTo>
                <a:lnTo>
                  <a:pt x="1480" y="5"/>
                </a:lnTo>
                <a:lnTo>
                  <a:pt x="1480" y="145"/>
                </a:lnTo>
                <a:close/>
                <a:moveTo>
                  <a:pt x="1480" y="349"/>
                </a:moveTo>
                <a:lnTo>
                  <a:pt x="2066" y="349"/>
                </a:lnTo>
                <a:lnTo>
                  <a:pt x="2066" y="210"/>
                </a:lnTo>
                <a:lnTo>
                  <a:pt x="1480" y="210"/>
                </a:lnTo>
                <a:lnTo>
                  <a:pt x="1480" y="349"/>
                </a:lnTo>
                <a:close/>
                <a:moveTo>
                  <a:pt x="1480" y="554"/>
                </a:moveTo>
                <a:lnTo>
                  <a:pt x="2066" y="554"/>
                </a:lnTo>
                <a:lnTo>
                  <a:pt x="2066" y="414"/>
                </a:lnTo>
                <a:lnTo>
                  <a:pt x="1480" y="414"/>
                </a:lnTo>
                <a:lnTo>
                  <a:pt x="1480" y="554"/>
                </a:lnTo>
                <a:close/>
                <a:moveTo>
                  <a:pt x="790" y="257"/>
                </a:moveTo>
                <a:lnTo>
                  <a:pt x="790" y="255"/>
                </a:lnTo>
                <a:lnTo>
                  <a:pt x="790" y="255"/>
                </a:lnTo>
                <a:lnTo>
                  <a:pt x="813" y="250"/>
                </a:lnTo>
                <a:lnTo>
                  <a:pt x="834" y="243"/>
                </a:lnTo>
                <a:lnTo>
                  <a:pt x="856" y="232"/>
                </a:lnTo>
                <a:lnTo>
                  <a:pt x="876" y="220"/>
                </a:lnTo>
                <a:lnTo>
                  <a:pt x="884" y="213"/>
                </a:lnTo>
                <a:lnTo>
                  <a:pt x="893" y="204"/>
                </a:lnTo>
                <a:lnTo>
                  <a:pt x="900" y="194"/>
                </a:lnTo>
                <a:lnTo>
                  <a:pt x="907" y="185"/>
                </a:lnTo>
                <a:lnTo>
                  <a:pt x="910" y="173"/>
                </a:lnTo>
                <a:lnTo>
                  <a:pt x="916" y="162"/>
                </a:lnTo>
                <a:lnTo>
                  <a:pt x="917" y="150"/>
                </a:lnTo>
                <a:lnTo>
                  <a:pt x="917" y="136"/>
                </a:lnTo>
                <a:lnTo>
                  <a:pt x="917" y="136"/>
                </a:lnTo>
                <a:lnTo>
                  <a:pt x="917" y="121"/>
                </a:lnTo>
                <a:lnTo>
                  <a:pt x="914" y="105"/>
                </a:lnTo>
                <a:lnTo>
                  <a:pt x="910" y="93"/>
                </a:lnTo>
                <a:lnTo>
                  <a:pt x="905" y="80"/>
                </a:lnTo>
                <a:lnTo>
                  <a:pt x="898" y="68"/>
                </a:lnTo>
                <a:lnTo>
                  <a:pt x="888" y="58"/>
                </a:lnTo>
                <a:lnTo>
                  <a:pt x="877" y="49"/>
                </a:lnTo>
                <a:lnTo>
                  <a:pt x="867" y="42"/>
                </a:lnTo>
                <a:lnTo>
                  <a:pt x="853" y="35"/>
                </a:lnTo>
                <a:lnTo>
                  <a:pt x="839" y="28"/>
                </a:lnTo>
                <a:lnTo>
                  <a:pt x="821" y="24"/>
                </a:lnTo>
                <a:lnTo>
                  <a:pt x="804" y="19"/>
                </a:lnTo>
                <a:lnTo>
                  <a:pt x="786" y="17"/>
                </a:lnTo>
                <a:lnTo>
                  <a:pt x="765" y="16"/>
                </a:lnTo>
                <a:lnTo>
                  <a:pt x="722" y="14"/>
                </a:lnTo>
                <a:lnTo>
                  <a:pt x="477" y="14"/>
                </a:lnTo>
                <a:lnTo>
                  <a:pt x="477" y="40"/>
                </a:lnTo>
                <a:lnTo>
                  <a:pt x="477" y="40"/>
                </a:lnTo>
                <a:lnTo>
                  <a:pt x="496" y="42"/>
                </a:lnTo>
                <a:lnTo>
                  <a:pt x="512" y="45"/>
                </a:lnTo>
                <a:lnTo>
                  <a:pt x="524" y="51"/>
                </a:lnTo>
                <a:lnTo>
                  <a:pt x="530" y="54"/>
                </a:lnTo>
                <a:lnTo>
                  <a:pt x="533" y="58"/>
                </a:lnTo>
                <a:lnTo>
                  <a:pt x="537" y="65"/>
                </a:lnTo>
                <a:lnTo>
                  <a:pt x="540" y="70"/>
                </a:lnTo>
                <a:lnTo>
                  <a:pt x="542" y="87"/>
                </a:lnTo>
                <a:lnTo>
                  <a:pt x="543" y="110"/>
                </a:lnTo>
                <a:lnTo>
                  <a:pt x="545" y="140"/>
                </a:lnTo>
                <a:lnTo>
                  <a:pt x="543" y="554"/>
                </a:lnTo>
                <a:lnTo>
                  <a:pt x="701" y="554"/>
                </a:lnTo>
                <a:lnTo>
                  <a:pt x="701" y="554"/>
                </a:lnTo>
                <a:lnTo>
                  <a:pt x="750" y="552"/>
                </a:lnTo>
                <a:lnTo>
                  <a:pt x="774" y="550"/>
                </a:lnTo>
                <a:lnTo>
                  <a:pt x="797" y="547"/>
                </a:lnTo>
                <a:lnTo>
                  <a:pt x="818" y="542"/>
                </a:lnTo>
                <a:lnTo>
                  <a:pt x="839" y="536"/>
                </a:lnTo>
                <a:lnTo>
                  <a:pt x="856" y="529"/>
                </a:lnTo>
                <a:lnTo>
                  <a:pt x="874" y="521"/>
                </a:lnTo>
                <a:lnTo>
                  <a:pt x="874" y="521"/>
                </a:lnTo>
                <a:lnTo>
                  <a:pt x="891" y="510"/>
                </a:lnTo>
                <a:lnTo>
                  <a:pt x="905" y="500"/>
                </a:lnTo>
                <a:lnTo>
                  <a:pt x="919" y="486"/>
                </a:lnTo>
                <a:lnTo>
                  <a:pt x="930" y="472"/>
                </a:lnTo>
                <a:lnTo>
                  <a:pt x="940" y="454"/>
                </a:lnTo>
                <a:lnTo>
                  <a:pt x="945" y="437"/>
                </a:lnTo>
                <a:lnTo>
                  <a:pt x="951" y="418"/>
                </a:lnTo>
                <a:lnTo>
                  <a:pt x="952" y="395"/>
                </a:lnTo>
                <a:lnTo>
                  <a:pt x="952" y="395"/>
                </a:lnTo>
                <a:lnTo>
                  <a:pt x="951" y="381"/>
                </a:lnTo>
                <a:lnTo>
                  <a:pt x="949" y="365"/>
                </a:lnTo>
                <a:lnTo>
                  <a:pt x="945" y="353"/>
                </a:lnTo>
                <a:lnTo>
                  <a:pt x="940" y="341"/>
                </a:lnTo>
                <a:lnTo>
                  <a:pt x="933" y="328"/>
                </a:lnTo>
                <a:lnTo>
                  <a:pt x="924" y="318"/>
                </a:lnTo>
                <a:lnTo>
                  <a:pt x="916" y="307"/>
                </a:lnTo>
                <a:lnTo>
                  <a:pt x="905" y="299"/>
                </a:lnTo>
                <a:lnTo>
                  <a:pt x="895" y="290"/>
                </a:lnTo>
                <a:lnTo>
                  <a:pt x="883" y="283"/>
                </a:lnTo>
                <a:lnTo>
                  <a:pt x="869" y="276"/>
                </a:lnTo>
                <a:lnTo>
                  <a:pt x="855" y="271"/>
                </a:lnTo>
                <a:lnTo>
                  <a:pt x="823" y="262"/>
                </a:lnTo>
                <a:lnTo>
                  <a:pt x="790" y="257"/>
                </a:lnTo>
                <a:lnTo>
                  <a:pt x="790" y="257"/>
                </a:lnTo>
                <a:close/>
                <a:moveTo>
                  <a:pt x="655" y="98"/>
                </a:moveTo>
                <a:lnTo>
                  <a:pt x="655" y="98"/>
                </a:lnTo>
                <a:lnTo>
                  <a:pt x="657" y="68"/>
                </a:lnTo>
                <a:lnTo>
                  <a:pt x="659" y="59"/>
                </a:lnTo>
                <a:lnTo>
                  <a:pt x="661" y="54"/>
                </a:lnTo>
                <a:lnTo>
                  <a:pt x="661" y="54"/>
                </a:lnTo>
                <a:lnTo>
                  <a:pt x="666" y="52"/>
                </a:lnTo>
                <a:lnTo>
                  <a:pt x="675" y="51"/>
                </a:lnTo>
                <a:lnTo>
                  <a:pt x="697" y="49"/>
                </a:lnTo>
                <a:lnTo>
                  <a:pt x="697" y="49"/>
                </a:lnTo>
                <a:lnTo>
                  <a:pt x="717" y="51"/>
                </a:lnTo>
                <a:lnTo>
                  <a:pt x="734" y="54"/>
                </a:lnTo>
                <a:lnTo>
                  <a:pt x="751" y="59"/>
                </a:lnTo>
                <a:lnTo>
                  <a:pt x="765" y="70"/>
                </a:lnTo>
                <a:lnTo>
                  <a:pt x="772" y="75"/>
                </a:lnTo>
                <a:lnTo>
                  <a:pt x="779" y="82"/>
                </a:lnTo>
                <a:lnTo>
                  <a:pt x="785" y="91"/>
                </a:lnTo>
                <a:lnTo>
                  <a:pt x="790" y="100"/>
                </a:lnTo>
                <a:lnTo>
                  <a:pt x="793" y="110"/>
                </a:lnTo>
                <a:lnTo>
                  <a:pt x="797" y="122"/>
                </a:lnTo>
                <a:lnTo>
                  <a:pt x="799" y="135"/>
                </a:lnTo>
                <a:lnTo>
                  <a:pt x="799" y="148"/>
                </a:lnTo>
                <a:lnTo>
                  <a:pt x="799" y="148"/>
                </a:lnTo>
                <a:lnTo>
                  <a:pt x="799" y="161"/>
                </a:lnTo>
                <a:lnTo>
                  <a:pt x="797" y="173"/>
                </a:lnTo>
                <a:lnTo>
                  <a:pt x="793" y="183"/>
                </a:lnTo>
                <a:lnTo>
                  <a:pt x="790" y="192"/>
                </a:lnTo>
                <a:lnTo>
                  <a:pt x="786" y="201"/>
                </a:lnTo>
                <a:lnTo>
                  <a:pt x="781" y="210"/>
                </a:lnTo>
                <a:lnTo>
                  <a:pt x="774" y="217"/>
                </a:lnTo>
                <a:lnTo>
                  <a:pt x="767" y="224"/>
                </a:lnTo>
                <a:lnTo>
                  <a:pt x="758" y="229"/>
                </a:lnTo>
                <a:lnTo>
                  <a:pt x="750" y="234"/>
                </a:lnTo>
                <a:lnTo>
                  <a:pt x="729" y="241"/>
                </a:lnTo>
                <a:lnTo>
                  <a:pt x="704" y="246"/>
                </a:lnTo>
                <a:lnTo>
                  <a:pt x="676" y="248"/>
                </a:lnTo>
                <a:lnTo>
                  <a:pt x="655" y="248"/>
                </a:lnTo>
                <a:lnTo>
                  <a:pt x="655" y="98"/>
                </a:lnTo>
                <a:close/>
                <a:moveTo>
                  <a:pt x="715" y="519"/>
                </a:moveTo>
                <a:lnTo>
                  <a:pt x="715" y="519"/>
                </a:lnTo>
                <a:lnTo>
                  <a:pt x="699" y="517"/>
                </a:lnTo>
                <a:lnTo>
                  <a:pt x="685" y="515"/>
                </a:lnTo>
                <a:lnTo>
                  <a:pt x="675" y="508"/>
                </a:lnTo>
                <a:lnTo>
                  <a:pt x="668" y="500"/>
                </a:lnTo>
                <a:lnTo>
                  <a:pt x="661" y="487"/>
                </a:lnTo>
                <a:lnTo>
                  <a:pt x="657" y="472"/>
                </a:lnTo>
                <a:lnTo>
                  <a:pt x="655" y="449"/>
                </a:lnTo>
                <a:lnTo>
                  <a:pt x="655" y="423"/>
                </a:lnTo>
                <a:lnTo>
                  <a:pt x="655" y="281"/>
                </a:lnTo>
                <a:lnTo>
                  <a:pt x="673" y="281"/>
                </a:lnTo>
                <a:lnTo>
                  <a:pt x="673" y="281"/>
                </a:lnTo>
                <a:lnTo>
                  <a:pt x="706" y="283"/>
                </a:lnTo>
                <a:lnTo>
                  <a:pt x="720" y="286"/>
                </a:lnTo>
                <a:lnTo>
                  <a:pt x="736" y="288"/>
                </a:lnTo>
                <a:lnTo>
                  <a:pt x="748" y="293"/>
                </a:lnTo>
                <a:lnTo>
                  <a:pt x="762" y="299"/>
                </a:lnTo>
                <a:lnTo>
                  <a:pt x="772" y="304"/>
                </a:lnTo>
                <a:lnTo>
                  <a:pt x="783" y="311"/>
                </a:lnTo>
                <a:lnTo>
                  <a:pt x="793" y="320"/>
                </a:lnTo>
                <a:lnTo>
                  <a:pt x="800" y="328"/>
                </a:lnTo>
                <a:lnTo>
                  <a:pt x="807" y="337"/>
                </a:lnTo>
                <a:lnTo>
                  <a:pt x="814" y="349"/>
                </a:lnTo>
                <a:lnTo>
                  <a:pt x="820" y="362"/>
                </a:lnTo>
                <a:lnTo>
                  <a:pt x="823" y="374"/>
                </a:lnTo>
                <a:lnTo>
                  <a:pt x="825" y="388"/>
                </a:lnTo>
                <a:lnTo>
                  <a:pt x="825" y="404"/>
                </a:lnTo>
                <a:lnTo>
                  <a:pt x="825" y="404"/>
                </a:lnTo>
                <a:lnTo>
                  <a:pt x="825" y="419"/>
                </a:lnTo>
                <a:lnTo>
                  <a:pt x="823" y="433"/>
                </a:lnTo>
                <a:lnTo>
                  <a:pt x="820" y="445"/>
                </a:lnTo>
                <a:lnTo>
                  <a:pt x="814" y="458"/>
                </a:lnTo>
                <a:lnTo>
                  <a:pt x="809" y="468"/>
                </a:lnTo>
                <a:lnTo>
                  <a:pt x="804" y="477"/>
                </a:lnTo>
                <a:lnTo>
                  <a:pt x="797" y="486"/>
                </a:lnTo>
                <a:lnTo>
                  <a:pt x="790" y="493"/>
                </a:lnTo>
                <a:lnTo>
                  <a:pt x="781" y="500"/>
                </a:lnTo>
                <a:lnTo>
                  <a:pt x="772" y="505"/>
                </a:lnTo>
                <a:lnTo>
                  <a:pt x="753" y="512"/>
                </a:lnTo>
                <a:lnTo>
                  <a:pt x="734" y="517"/>
                </a:lnTo>
                <a:lnTo>
                  <a:pt x="715" y="519"/>
                </a:lnTo>
                <a:lnTo>
                  <a:pt x="715" y="519"/>
                </a:lnTo>
                <a:close/>
                <a:moveTo>
                  <a:pt x="1216" y="231"/>
                </a:moveTo>
                <a:lnTo>
                  <a:pt x="1188" y="220"/>
                </a:lnTo>
                <a:lnTo>
                  <a:pt x="1188" y="220"/>
                </a:lnTo>
                <a:lnTo>
                  <a:pt x="1166" y="210"/>
                </a:lnTo>
                <a:lnTo>
                  <a:pt x="1146" y="199"/>
                </a:lnTo>
                <a:lnTo>
                  <a:pt x="1131" y="189"/>
                </a:lnTo>
                <a:lnTo>
                  <a:pt x="1117" y="176"/>
                </a:lnTo>
                <a:lnTo>
                  <a:pt x="1106" y="164"/>
                </a:lnTo>
                <a:lnTo>
                  <a:pt x="1097" y="150"/>
                </a:lnTo>
                <a:lnTo>
                  <a:pt x="1094" y="136"/>
                </a:lnTo>
                <a:lnTo>
                  <a:pt x="1092" y="121"/>
                </a:lnTo>
                <a:lnTo>
                  <a:pt x="1092" y="121"/>
                </a:lnTo>
                <a:lnTo>
                  <a:pt x="1094" y="105"/>
                </a:lnTo>
                <a:lnTo>
                  <a:pt x="1097" y="89"/>
                </a:lnTo>
                <a:lnTo>
                  <a:pt x="1104" y="75"/>
                </a:lnTo>
                <a:lnTo>
                  <a:pt x="1115" y="63"/>
                </a:lnTo>
                <a:lnTo>
                  <a:pt x="1127" y="52"/>
                </a:lnTo>
                <a:lnTo>
                  <a:pt x="1141" y="45"/>
                </a:lnTo>
                <a:lnTo>
                  <a:pt x="1159" y="40"/>
                </a:lnTo>
                <a:lnTo>
                  <a:pt x="1178" y="38"/>
                </a:lnTo>
                <a:lnTo>
                  <a:pt x="1178" y="38"/>
                </a:lnTo>
                <a:lnTo>
                  <a:pt x="1192" y="38"/>
                </a:lnTo>
                <a:lnTo>
                  <a:pt x="1204" y="40"/>
                </a:lnTo>
                <a:lnTo>
                  <a:pt x="1215" y="44"/>
                </a:lnTo>
                <a:lnTo>
                  <a:pt x="1225" y="49"/>
                </a:lnTo>
                <a:lnTo>
                  <a:pt x="1236" y="54"/>
                </a:lnTo>
                <a:lnTo>
                  <a:pt x="1244" y="59"/>
                </a:lnTo>
                <a:lnTo>
                  <a:pt x="1260" y="73"/>
                </a:lnTo>
                <a:lnTo>
                  <a:pt x="1272" y="91"/>
                </a:lnTo>
                <a:lnTo>
                  <a:pt x="1281" y="108"/>
                </a:lnTo>
                <a:lnTo>
                  <a:pt x="1290" y="128"/>
                </a:lnTo>
                <a:lnTo>
                  <a:pt x="1297" y="147"/>
                </a:lnTo>
                <a:lnTo>
                  <a:pt x="1330" y="140"/>
                </a:lnTo>
                <a:lnTo>
                  <a:pt x="1330" y="140"/>
                </a:lnTo>
                <a:lnTo>
                  <a:pt x="1318" y="75"/>
                </a:lnTo>
                <a:lnTo>
                  <a:pt x="1311" y="23"/>
                </a:lnTo>
                <a:lnTo>
                  <a:pt x="1311" y="23"/>
                </a:lnTo>
                <a:lnTo>
                  <a:pt x="1272" y="12"/>
                </a:lnTo>
                <a:lnTo>
                  <a:pt x="1272" y="12"/>
                </a:lnTo>
                <a:lnTo>
                  <a:pt x="1253" y="7"/>
                </a:lnTo>
                <a:lnTo>
                  <a:pt x="1232" y="3"/>
                </a:lnTo>
                <a:lnTo>
                  <a:pt x="1211" y="2"/>
                </a:lnTo>
                <a:lnTo>
                  <a:pt x="1192" y="0"/>
                </a:lnTo>
                <a:lnTo>
                  <a:pt x="1192" y="0"/>
                </a:lnTo>
                <a:lnTo>
                  <a:pt x="1169" y="2"/>
                </a:lnTo>
                <a:lnTo>
                  <a:pt x="1148" y="3"/>
                </a:lnTo>
                <a:lnTo>
                  <a:pt x="1127" y="9"/>
                </a:lnTo>
                <a:lnTo>
                  <a:pt x="1108" y="14"/>
                </a:lnTo>
                <a:lnTo>
                  <a:pt x="1090" y="21"/>
                </a:lnTo>
                <a:lnTo>
                  <a:pt x="1075" y="30"/>
                </a:lnTo>
                <a:lnTo>
                  <a:pt x="1061" y="38"/>
                </a:lnTo>
                <a:lnTo>
                  <a:pt x="1047" y="49"/>
                </a:lnTo>
                <a:lnTo>
                  <a:pt x="1035" y="61"/>
                </a:lnTo>
                <a:lnTo>
                  <a:pt x="1024" y="73"/>
                </a:lnTo>
                <a:lnTo>
                  <a:pt x="1015" y="87"/>
                </a:lnTo>
                <a:lnTo>
                  <a:pt x="1008" y="101"/>
                </a:lnTo>
                <a:lnTo>
                  <a:pt x="1001" y="115"/>
                </a:lnTo>
                <a:lnTo>
                  <a:pt x="998" y="131"/>
                </a:lnTo>
                <a:lnTo>
                  <a:pt x="996" y="147"/>
                </a:lnTo>
                <a:lnTo>
                  <a:pt x="994" y="164"/>
                </a:lnTo>
                <a:lnTo>
                  <a:pt x="994" y="164"/>
                </a:lnTo>
                <a:lnTo>
                  <a:pt x="996" y="178"/>
                </a:lnTo>
                <a:lnTo>
                  <a:pt x="998" y="192"/>
                </a:lnTo>
                <a:lnTo>
                  <a:pt x="1001" y="204"/>
                </a:lnTo>
                <a:lnTo>
                  <a:pt x="1005" y="218"/>
                </a:lnTo>
                <a:lnTo>
                  <a:pt x="1012" y="229"/>
                </a:lnTo>
                <a:lnTo>
                  <a:pt x="1019" y="241"/>
                </a:lnTo>
                <a:lnTo>
                  <a:pt x="1026" y="252"/>
                </a:lnTo>
                <a:lnTo>
                  <a:pt x="1035" y="260"/>
                </a:lnTo>
                <a:lnTo>
                  <a:pt x="1056" y="280"/>
                </a:lnTo>
                <a:lnTo>
                  <a:pt x="1078" y="295"/>
                </a:lnTo>
                <a:lnTo>
                  <a:pt x="1104" y="309"/>
                </a:lnTo>
                <a:lnTo>
                  <a:pt x="1132" y="321"/>
                </a:lnTo>
                <a:lnTo>
                  <a:pt x="1150" y="330"/>
                </a:lnTo>
                <a:lnTo>
                  <a:pt x="1150" y="330"/>
                </a:lnTo>
                <a:lnTo>
                  <a:pt x="1173" y="339"/>
                </a:lnTo>
                <a:lnTo>
                  <a:pt x="1194" y="351"/>
                </a:lnTo>
                <a:lnTo>
                  <a:pt x="1211" y="362"/>
                </a:lnTo>
                <a:lnTo>
                  <a:pt x="1225" y="374"/>
                </a:lnTo>
                <a:lnTo>
                  <a:pt x="1236" y="388"/>
                </a:lnTo>
                <a:lnTo>
                  <a:pt x="1244" y="404"/>
                </a:lnTo>
                <a:lnTo>
                  <a:pt x="1248" y="421"/>
                </a:lnTo>
                <a:lnTo>
                  <a:pt x="1250" y="440"/>
                </a:lnTo>
                <a:lnTo>
                  <a:pt x="1250" y="440"/>
                </a:lnTo>
                <a:lnTo>
                  <a:pt x="1248" y="458"/>
                </a:lnTo>
                <a:lnTo>
                  <a:pt x="1244" y="475"/>
                </a:lnTo>
                <a:lnTo>
                  <a:pt x="1236" y="489"/>
                </a:lnTo>
                <a:lnTo>
                  <a:pt x="1225" y="503"/>
                </a:lnTo>
                <a:lnTo>
                  <a:pt x="1213" y="514"/>
                </a:lnTo>
                <a:lnTo>
                  <a:pt x="1197" y="522"/>
                </a:lnTo>
                <a:lnTo>
                  <a:pt x="1180" y="528"/>
                </a:lnTo>
                <a:lnTo>
                  <a:pt x="1159" y="529"/>
                </a:lnTo>
                <a:lnTo>
                  <a:pt x="1159" y="529"/>
                </a:lnTo>
                <a:lnTo>
                  <a:pt x="1145" y="528"/>
                </a:lnTo>
                <a:lnTo>
                  <a:pt x="1131" y="526"/>
                </a:lnTo>
                <a:lnTo>
                  <a:pt x="1117" y="522"/>
                </a:lnTo>
                <a:lnTo>
                  <a:pt x="1104" y="517"/>
                </a:lnTo>
                <a:lnTo>
                  <a:pt x="1092" y="510"/>
                </a:lnTo>
                <a:lnTo>
                  <a:pt x="1082" y="503"/>
                </a:lnTo>
                <a:lnTo>
                  <a:pt x="1063" y="487"/>
                </a:lnTo>
                <a:lnTo>
                  <a:pt x="1045" y="468"/>
                </a:lnTo>
                <a:lnTo>
                  <a:pt x="1031" y="449"/>
                </a:lnTo>
                <a:lnTo>
                  <a:pt x="1021" y="430"/>
                </a:lnTo>
                <a:lnTo>
                  <a:pt x="1012" y="412"/>
                </a:lnTo>
                <a:lnTo>
                  <a:pt x="1012" y="412"/>
                </a:lnTo>
                <a:lnTo>
                  <a:pt x="1012" y="412"/>
                </a:lnTo>
                <a:lnTo>
                  <a:pt x="1012" y="412"/>
                </a:lnTo>
                <a:lnTo>
                  <a:pt x="1012" y="428"/>
                </a:lnTo>
                <a:lnTo>
                  <a:pt x="1010" y="444"/>
                </a:lnTo>
                <a:lnTo>
                  <a:pt x="1007" y="458"/>
                </a:lnTo>
                <a:lnTo>
                  <a:pt x="1003" y="472"/>
                </a:lnTo>
                <a:lnTo>
                  <a:pt x="996" y="484"/>
                </a:lnTo>
                <a:lnTo>
                  <a:pt x="991" y="496"/>
                </a:lnTo>
                <a:lnTo>
                  <a:pt x="982" y="507"/>
                </a:lnTo>
                <a:lnTo>
                  <a:pt x="975" y="517"/>
                </a:lnTo>
                <a:lnTo>
                  <a:pt x="975" y="517"/>
                </a:lnTo>
                <a:lnTo>
                  <a:pt x="982" y="522"/>
                </a:lnTo>
                <a:lnTo>
                  <a:pt x="996" y="529"/>
                </a:lnTo>
                <a:lnTo>
                  <a:pt x="996" y="529"/>
                </a:lnTo>
                <a:lnTo>
                  <a:pt x="1019" y="540"/>
                </a:lnTo>
                <a:lnTo>
                  <a:pt x="1054" y="554"/>
                </a:lnTo>
                <a:lnTo>
                  <a:pt x="1054" y="554"/>
                </a:lnTo>
                <a:lnTo>
                  <a:pt x="1073" y="559"/>
                </a:lnTo>
                <a:lnTo>
                  <a:pt x="1096" y="563"/>
                </a:lnTo>
                <a:lnTo>
                  <a:pt x="1118" y="566"/>
                </a:lnTo>
                <a:lnTo>
                  <a:pt x="1143" y="566"/>
                </a:lnTo>
                <a:lnTo>
                  <a:pt x="1143" y="566"/>
                </a:lnTo>
                <a:lnTo>
                  <a:pt x="1167" y="566"/>
                </a:lnTo>
                <a:lnTo>
                  <a:pt x="1188" y="563"/>
                </a:lnTo>
                <a:lnTo>
                  <a:pt x="1209" y="559"/>
                </a:lnTo>
                <a:lnTo>
                  <a:pt x="1230" y="554"/>
                </a:lnTo>
                <a:lnTo>
                  <a:pt x="1248" y="547"/>
                </a:lnTo>
                <a:lnTo>
                  <a:pt x="1265" y="538"/>
                </a:lnTo>
                <a:lnTo>
                  <a:pt x="1281" y="528"/>
                </a:lnTo>
                <a:lnTo>
                  <a:pt x="1297" y="517"/>
                </a:lnTo>
                <a:lnTo>
                  <a:pt x="1309" y="505"/>
                </a:lnTo>
                <a:lnTo>
                  <a:pt x="1321" y="491"/>
                </a:lnTo>
                <a:lnTo>
                  <a:pt x="1330" y="477"/>
                </a:lnTo>
                <a:lnTo>
                  <a:pt x="1339" y="461"/>
                </a:lnTo>
                <a:lnTo>
                  <a:pt x="1344" y="445"/>
                </a:lnTo>
                <a:lnTo>
                  <a:pt x="1349" y="430"/>
                </a:lnTo>
                <a:lnTo>
                  <a:pt x="1353" y="412"/>
                </a:lnTo>
                <a:lnTo>
                  <a:pt x="1353" y="393"/>
                </a:lnTo>
                <a:lnTo>
                  <a:pt x="1353" y="393"/>
                </a:lnTo>
                <a:lnTo>
                  <a:pt x="1353" y="377"/>
                </a:lnTo>
                <a:lnTo>
                  <a:pt x="1351" y="362"/>
                </a:lnTo>
                <a:lnTo>
                  <a:pt x="1347" y="348"/>
                </a:lnTo>
                <a:lnTo>
                  <a:pt x="1342" y="334"/>
                </a:lnTo>
                <a:lnTo>
                  <a:pt x="1335" y="321"/>
                </a:lnTo>
                <a:lnTo>
                  <a:pt x="1328" y="309"/>
                </a:lnTo>
                <a:lnTo>
                  <a:pt x="1321" y="299"/>
                </a:lnTo>
                <a:lnTo>
                  <a:pt x="1311" y="290"/>
                </a:lnTo>
                <a:lnTo>
                  <a:pt x="1291" y="271"/>
                </a:lnTo>
                <a:lnTo>
                  <a:pt x="1269" y="255"/>
                </a:lnTo>
                <a:lnTo>
                  <a:pt x="1243" y="243"/>
                </a:lnTo>
                <a:lnTo>
                  <a:pt x="1216" y="231"/>
                </a:lnTo>
                <a:lnTo>
                  <a:pt x="1216" y="231"/>
                </a:lnTo>
                <a:close/>
                <a:moveTo>
                  <a:pt x="402" y="491"/>
                </a:moveTo>
                <a:lnTo>
                  <a:pt x="402" y="491"/>
                </a:lnTo>
                <a:lnTo>
                  <a:pt x="393" y="498"/>
                </a:lnTo>
                <a:lnTo>
                  <a:pt x="383" y="503"/>
                </a:lnTo>
                <a:lnTo>
                  <a:pt x="370" y="508"/>
                </a:lnTo>
                <a:lnTo>
                  <a:pt x="357" y="512"/>
                </a:lnTo>
                <a:lnTo>
                  <a:pt x="325" y="515"/>
                </a:lnTo>
                <a:lnTo>
                  <a:pt x="294" y="517"/>
                </a:lnTo>
                <a:lnTo>
                  <a:pt x="294" y="517"/>
                </a:lnTo>
                <a:lnTo>
                  <a:pt x="248" y="515"/>
                </a:lnTo>
                <a:lnTo>
                  <a:pt x="231" y="514"/>
                </a:lnTo>
                <a:lnTo>
                  <a:pt x="218" y="510"/>
                </a:lnTo>
                <a:lnTo>
                  <a:pt x="218" y="510"/>
                </a:lnTo>
                <a:lnTo>
                  <a:pt x="211" y="507"/>
                </a:lnTo>
                <a:lnTo>
                  <a:pt x="206" y="501"/>
                </a:lnTo>
                <a:lnTo>
                  <a:pt x="203" y="494"/>
                </a:lnTo>
                <a:lnTo>
                  <a:pt x="199" y="486"/>
                </a:lnTo>
                <a:lnTo>
                  <a:pt x="197" y="475"/>
                </a:lnTo>
                <a:lnTo>
                  <a:pt x="197" y="461"/>
                </a:lnTo>
                <a:lnTo>
                  <a:pt x="196" y="423"/>
                </a:lnTo>
                <a:lnTo>
                  <a:pt x="196" y="293"/>
                </a:lnTo>
                <a:lnTo>
                  <a:pt x="260" y="293"/>
                </a:lnTo>
                <a:lnTo>
                  <a:pt x="260" y="293"/>
                </a:lnTo>
                <a:lnTo>
                  <a:pt x="285" y="293"/>
                </a:lnTo>
                <a:lnTo>
                  <a:pt x="306" y="295"/>
                </a:lnTo>
                <a:lnTo>
                  <a:pt x="320" y="297"/>
                </a:lnTo>
                <a:lnTo>
                  <a:pt x="330" y="302"/>
                </a:lnTo>
                <a:lnTo>
                  <a:pt x="334" y="307"/>
                </a:lnTo>
                <a:lnTo>
                  <a:pt x="337" y="311"/>
                </a:lnTo>
                <a:lnTo>
                  <a:pt x="341" y="323"/>
                </a:lnTo>
                <a:lnTo>
                  <a:pt x="344" y="341"/>
                </a:lnTo>
                <a:lnTo>
                  <a:pt x="348" y="363"/>
                </a:lnTo>
                <a:lnTo>
                  <a:pt x="379" y="363"/>
                </a:lnTo>
                <a:lnTo>
                  <a:pt x="379" y="180"/>
                </a:lnTo>
                <a:lnTo>
                  <a:pt x="348" y="180"/>
                </a:lnTo>
                <a:lnTo>
                  <a:pt x="348" y="180"/>
                </a:lnTo>
                <a:lnTo>
                  <a:pt x="344" y="203"/>
                </a:lnTo>
                <a:lnTo>
                  <a:pt x="341" y="218"/>
                </a:lnTo>
                <a:lnTo>
                  <a:pt x="337" y="231"/>
                </a:lnTo>
                <a:lnTo>
                  <a:pt x="334" y="236"/>
                </a:lnTo>
                <a:lnTo>
                  <a:pt x="330" y="239"/>
                </a:lnTo>
                <a:lnTo>
                  <a:pt x="320" y="246"/>
                </a:lnTo>
                <a:lnTo>
                  <a:pt x="306" y="248"/>
                </a:lnTo>
                <a:lnTo>
                  <a:pt x="285" y="250"/>
                </a:lnTo>
                <a:lnTo>
                  <a:pt x="260" y="250"/>
                </a:lnTo>
                <a:lnTo>
                  <a:pt x="196" y="250"/>
                </a:lnTo>
                <a:lnTo>
                  <a:pt x="196" y="80"/>
                </a:lnTo>
                <a:lnTo>
                  <a:pt x="196" y="80"/>
                </a:lnTo>
                <a:lnTo>
                  <a:pt x="196" y="63"/>
                </a:lnTo>
                <a:lnTo>
                  <a:pt x="197" y="58"/>
                </a:lnTo>
                <a:lnTo>
                  <a:pt x="201" y="54"/>
                </a:lnTo>
                <a:lnTo>
                  <a:pt x="204" y="52"/>
                </a:lnTo>
                <a:lnTo>
                  <a:pt x="211" y="51"/>
                </a:lnTo>
                <a:lnTo>
                  <a:pt x="231" y="51"/>
                </a:lnTo>
                <a:lnTo>
                  <a:pt x="266" y="51"/>
                </a:lnTo>
                <a:lnTo>
                  <a:pt x="266" y="51"/>
                </a:lnTo>
                <a:lnTo>
                  <a:pt x="301" y="52"/>
                </a:lnTo>
                <a:lnTo>
                  <a:pt x="329" y="54"/>
                </a:lnTo>
                <a:lnTo>
                  <a:pt x="339" y="58"/>
                </a:lnTo>
                <a:lnTo>
                  <a:pt x="348" y="61"/>
                </a:lnTo>
                <a:lnTo>
                  <a:pt x="355" y="65"/>
                </a:lnTo>
                <a:lnTo>
                  <a:pt x="362" y="70"/>
                </a:lnTo>
                <a:lnTo>
                  <a:pt x="362" y="70"/>
                </a:lnTo>
                <a:lnTo>
                  <a:pt x="370" y="82"/>
                </a:lnTo>
                <a:lnTo>
                  <a:pt x="379" y="98"/>
                </a:lnTo>
                <a:lnTo>
                  <a:pt x="388" y="119"/>
                </a:lnTo>
                <a:lnTo>
                  <a:pt x="393" y="145"/>
                </a:lnTo>
                <a:lnTo>
                  <a:pt x="426" y="143"/>
                </a:lnTo>
                <a:lnTo>
                  <a:pt x="426" y="143"/>
                </a:lnTo>
                <a:lnTo>
                  <a:pt x="416" y="14"/>
                </a:lnTo>
                <a:lnTo>
                  <a:pt x="0" y="14"/>
                </a:lnTo>
                <a:lnTo>
                  <a:pt x="0" y="40"/>
                </a:lnTo>
                <a:lnTo>
                  <a:pt x="0" y="40"/>
                </a:lnTo>
                <a:lnTo>
                  <a:pt x="23" y="42"/>
                </a:lnTo>
                <a:lnTo>
                  <a:pt x="40" y="45"/>
                </a:lnTo>
                <a:lnTo>
                  <a:pt x="54" y="51"/>
                </a:lnTo>
                <a:lnTo>
                  <a:pt x="59" y="54"/>
                </a:lnTo>
                <a:lnTo>
                  <a:pt x="65" y="58"/>
                </a:lnTo>
                <a:lnTo>
                  <a:pt x="68" y="65"/>
                </a:lnTo>
                <a:lnTo>
                  <a:pt x="72" y="70"/>
                </a:lnTo>
                <a:lnTo>
                  <a:pt x="77" y="87"/>
                </a:lnTo>
                <a:lnTo>
                  <a:pt x="80" y="110"/>
                </a:lnTo>
                <a:lnTo>
                  <a:pt x="80" y="140"/>
                </a:lnTo>
                <a:lnTo>
                  <a:pt x="80" y="426"/>
                </a:lnTo>
                <a:lnTo>
                  <a:pt x="80" y="426"/>
                </a:lnTo>
                <a:lnTo>
                  <a:pt x="80" y="456"/>
                </a:lnTo>
                <a:lnTo>
                  <a:pt x="79" y="480"/>
                </a:lnTo>
                <a:lnTo>
                  <a:pt x="75" y="496"/>
                </a:lnTo>
                <a:lnTo>
                  <a:pt x="72" y="503"/>
                </a:lnTo>
                <a:lnTo>
                  <a:pt x="68" y="508"/>
                </a:lnTo>
                <a:lnTo>
                  <a:pt x="63" y="514"/>
                </a:lnTo>
                <a:lnTo>
                  <a:pt x="58" y="517"/>
                </a:lnTo>
                <a:lnTo>
                  <a:pt x="44" y="522"/>
                </a:lnTo>
                <a:lnTo>
                  <a:pt x="24" y="526"/>
                </a:lnTo>
                <a:lnTo>
                  <a:pt x="2" y="528"/>
                </a:lnTo>
                <a:lnTo>
                  <a:pt x="2" y="554"/>
                </a:lnTo>
                <a:lnTo>
                  <a:pt x="468" y="554"/>
                </a:lnTo>
                <a:lnTo>
                  <a:pt x="468" y="414"/>
                </a:lnTo>
                <a:lnTo>
                  <a:pt x="446" y="409"/>
                </a:lnTo>
                <a:lnTo>
                  <a:pt x="446" y="409"/>
                </a:lnTo>
                <a:lnTo>
                  <a:pt x="435" y="437"/>
                </a:lnTo>
                <a:lnTo>
                  <a:pt x="425" y="459"/>
                </a:lnTo>
                <a:lnTo>
                  <a:pt x="414" y="479"/>
                </a:lnTo>
                <a:lnTo>
                  <a:pt x="402" y="491"/>
                </a:lnTo>
                <a:lnTo>
                  <a:pt x="402" y="49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0E9EA73D-A65A-415C-A661-32BFC5536823}"/>
              </a:ext>
            </a:extLst>
          </p:cNvPr>
          <p:cNvGrpSpPr/>
          <p:nvPr userDrawn="1"/>
        </p:nvGrpSpPr>
        <p:grpSpPr>
          <a:xfrm>
            <a:off x="5379277" y="434044"/>
            <a:ext cx="1433446" cy="1288938"/>
            <a:chOff x="7085566" y="1616834"/>
            <a:chExt cx="1656184" cy="1489222"/>
          </a:xfrm>
        </p:grpSpPr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D9B52E77-7ABF-4620-8322-03833A505EF0}"/>
                </a:ext>
              </a:extLst>
            </p:cNvPr>
            <p:cNvSpPr/>
            <p:nvPr userDrawn="1"/>
          </p:nvSpPr>
          <p:spPr>
            <a:xfrm>
              <a:off x="7085566" y="1616834"/>
              <a:ext cx="1656184" cy="37263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CD830568-3253-4451-97C7-ADD7312E68FE}"/>
                </a:ext>
              </a:extLst>
            </p:cNvPr>
            <p:cNvSpPr/>
            <p:nvPr userDrawn="1"/>
          </p:nvSpPr>
          <p:spPr>
            <a:xfrm>
              <a:off x="7085566" y="2175126"/>
              <a:ext cx="1656184" cy="37263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77B57A3C-705F-4DC2-8C77-BAD9D7456A65}"/>
                </a:ext>
              </a:extLst>
            </p:cNvPr>
            <p:cNvSpPr/>
            <p:nvPr userDrawn="1"/>
          </p:nvSpPr>
          <p:spPr>
            <a:xfrm>
              <a:off x="7085566" y="2733419"/>
              <a:ext cx="1656184" cy="37263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9161761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umsplatzhalter 12"/>
          <p:cNvSpPr>
            <a:spLocks noGrp="1"/>
          </p:cNvSpPr>
          <p:nvPr>
            <p:ph type="dt" sz="half" idx="14"/>
          </p:nvPr>
        </p:nvSpPr>
        <p:spPr>
          <a:xfrm>
            <a:off x="1056000" y="6372000"/>
            <a:ext cx="960107" cy="144000"/>
          </a:xfrm>
          <a:prstGeom prst="rect">
            <a:avLst/>
          </a:prstGeom>
        </p:spPr>
        <p:txBody>
          <a:bodyPr/>
          <a:lstStyle/>
          <a:p>
            <a:fld id="{071A1CDF-4400-4140-BB65-1B05704E63B8}" type="datetime1">
              <a:rPr lang="de-DE" smtClean="0"/>
              <a:pPr/>
              <a:t>11.11.2019</a:t>
            </a:fld>
            <a:endParaRPr lang="de-DE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5"/>
          </p:nvPr>
        </p:nvSpPr>
        <p:spPr>
          <a:xfrm>
            <a:off x="2160000" y="6372000"/>
            <a:ext cx="7104000" cy="144000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6"/>
          </p:nvPr>
        </p:nvSpPr>
        <p:spPr>
          <a:xfrm>
            <a:off x="240000" y="6336000"/>
            <a:ext cx="672000" cy="180000"/>
          </a:xfrm>
          <a:prstGeom prst="rect">
            <a:avLst/>
          </a:prstGeom>
        </p:spPr>
        <p:txBody>
          <a:bodyPr/>
          <a:lstStyle/>
          <a:p>
            <a:fld id="{BEA30288-E3B5-4660-9128-F5D5808E1F0C}" type="slidenum">
              <a:rPr lang="de-DE" smtClean="0"/>
              <a:pPr/>
              <a:t>‹#›</a:t>
            </a:fld>
            <a:endParaRPr lang="de-DE" dirty="0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779D458D-C842-4B66-A675-357F2E126A4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80001" y="540000"/>
            <a:ext cx="400361" cy="360000"/>
            <a:chOff x="288000" y="6335568"/>
            <a:chExt cx="180000" cy="161854"/>
          </a:xfrm>
          <a:solidFill>
            <a:schemeClr val="tx2"/>
          </a:solidFill>
        </p:grpSpPr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8AD9583F-1E38-49A3-8978-BA8957A78D27}"/>
                </a:ext>
              </a:extLst>
            </p:cNvPr>
            <p:cNvSpPr/>
            <p:nvPr userDrawn="1"/>
          </p:nvSpPr>
          <p:spPr>
            <a:xfrm>
              <a:off x="288000" y="6335568"/>
              <a:ext cx="180000" cy="405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6E158C8F-7F9A-4FF3-BCD4-F2A10AE6D3C9}"/>
                </a:ext>
              </a:extLst>
            </p:cNvPr>
            <p:cNvSpPr/>
            <p:nvPr userDrawn="1"/>
          </p:nvSpPr>
          <p:spPr>
            <a:xfrm>
              <a:off x="288000" y="6396245"/>
              <a:ext cx="180000" cy="405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CFAD436D-0E7F-47B6-A27E-0246560026FF}"/>
                </a:ext>
              </a:extLst>
            </p:cNvPr>
            <p:cNvSpPr/>
            <p:nvPr userDrawn="1"/>
          </p:nvSpPr>
          <p:spPr>
            <a:xfrm>
              <a:off x="288000" y="6456922"/>
              <a:ext cx="180000" cy="405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0" name="Textplatzhalter 8">
            <a:extLst>
              <a:ext uri="{FF2B5EF4-FFF2-40B4-BE49-F238E27FC236}">
                <a16:creationId xmlns:a16="http://schemas.microsoft.com/office/drawing/2014/main" id="{244F1ADB-E43C-48AA-9C4D-8D5E9F65C37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8000" y="1592796"/>
            <a:ext cx="11207450" cy="4536543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1" name="Titelplatzhalter 1">
            <a:extLst>
              <a:ext uri="{FF2B5EF4-FFF2-40B4-BE49-F238E27FC236}">
                <a16:creationId xmlns:a16="http://schemas.microsoft.com/office/drawing/2014/main" id="{9046A65E-DB17-4203-ACAB-20228EAFE9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432000"/>
            <a:ext cx="11207450" cy="100800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/>
            </a:lvl1pPr>
          </a:lstStyle>
          <a:p>
            <a:r>
              <a:rPr lang="de-DE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4846471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795494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2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1056000" y="6372000"/>
            <a:ext cx="960107" cy="144000"/>
          </a:xfrm>
          <a:prstGeom prst="rect">
            <a:avLst/>
          </a:prstGeom>
        </p:spPr>
        <p:txBody>
          <a:bodyPr/>
          <a:lstStyle/>
          <a:p>
            <a:fld id="{1FFD9B5F-E1FE-4BED-9C21-C4C5A49741F7}" type="datetime1">
              <a:rPr lang="de-DE" smtClean="0"/>
              <a:t>11.11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160000" y="6372000"/>
            <a:ext cx="7104000" cy="144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240000" y="6336000"/>
            <a:ext cx="672000" cy="180000"/>
          </a:xfrm>
          <a:prstGeom prst="rect">
            <a:avLst/>
          </a:prstGeom>
        </p:spPr>
        <p:txBody>
          <a:bodyPr/>
          <a:lstStyle/>
          <a:p>
            <a:fld id="{BEA30288-E3B5-4660-9128-F5D5808E1F0C}" type="slidenum">
              <a:rPr lang="de-DE" smtClean="0"/>
              <a:t>‹#›</a:t>
            </a:fld>
            <a:endParaRPr lang="de-DE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00D3CEF0-4F4C-4E72-A1C3-00F0A82FA9A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80001" y="540000"/>
            <a:ext cx="400361" cy="360000"/>
            <a:chOff x="288000" y="6335568"/>
            <a:chExt cx="180000" cy="161854"/>
          </a:xfrm>
          <a:solidFill>
            <a:schemeClr val="tx2"/>
          </a:solidFill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30E49869-EE93-43DA-9846-BE49C4D560F1}"/>
                </a:ext>
              </a:extLst>
            </p:cNvPr>
            <p:cNvSpPr/>
            <p:nvPr userDrawn="1"/>
          </p:nvSpPr>
          <p:spPr>
            <a:xfrm>
              <a:off x="288000" y="6335568"/>
              <a:ext cx="180000" cy="405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E4390B23-1170-4A20-B3E5-46B6FD64D148}"/>
                </a:ext>
              </a:extLst>
            </p:cNvPr>
            <p:cNvSpPr/>
            <p:nvPr userDrawn="1"/>
          </p:nvSpPr>
          <p:spPr>
            <a:xfrm>
              <a:off x="288000" y="6396245"/>
              <a:ext cx="180000" cy="405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24F04E03-F22B-482E-A0CA-F4DFFB5BCA86}"/>
                </a:ext>
              </a:extLst>
            </p:cNvPr>
            <p:cNvSpPr/>
            <p:nvPr userDrawn="1"/>
          </p:nvSpPr>
          <p:spPr>
            <a:xfrm>
              <a:off x="288000" y="6456922"/>
              <a:ext cx="180000" cy="405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7" name="Titelplatzhalter 1">
            <a:extLst>
              <a:ext uri="{FF2B5EF4-FFF2-40B4-BE49-F238E27FC236}">
                <a16:creationId xmlns:a16="http://schemas.microsoft.com/office/drawing/2014/main" id="{2A370F85-4360-48CB-8E64-65E2D8EF6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432000"/>
            <a:ext cx="11207450" cy="100800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/>
            </a:lvl1pPr>
          </a:lstStyle>
          <a:p>
            <a:r>
              <a:rPr lang="de-DE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5328981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2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1056000" y="6372000"/>
            <a:ext cx="960107" cy="144000"/>
          </a:xfrm>
          <a:prstGeom prst="rect">
            <a:avLst/>
          </a:prstGeom>
        </p:spPr>
        <p:txBody>
          <a:bodyPr/>
          <a:lstStyle/>
          <a:p>
            <a:fld id="{1FFD9B5F-E1FE-4BED-9C21-C4C5A49741F7}" type="datetime1">
              <a:rPr lang="de-DE" smtClean="0"/>
              <a:t>11.11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160000" y="6372000"/>
            <a:ext cx="7104000" cy="144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240000" y="6336000"/>
            <a:ext cx="672000" cy="180000"/>
          </a:xfrm>
          <a:prstGeom prst="rect">
            <a:avLst/>
          </a:prstGeom>
        </p:spPr>
        <p:txBody>
          <a:bodyPr/>
          <a:lstStyle/>
          <a:p>
            <a:fld id="{BEA30288-E3B5-4660-9128-F5D5808E1F0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499770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-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41280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1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1056000" y="6372000"/>
            <a:ext cx="960107" cy="144000"/>
          </a:xfrm>
          <a:prstGeom prst="rect">
            <a:avLst/>
          </a:prstGeom>
        </p:spPr>
        <p:txBody>
          <a:bodyPr/>
          <a:lstStyle/>
          <a:p>
            <a:fld id="{071A1CDF-4400-4140-BB65-1B05704E63B8}" type="datetime1">
              <a:rPr lang="de-DE" smtClean="0"/>
              <a:pPr/>
              <a:t>11.11.2019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160000" y="6372000"/>
            <a:ext cx="7104000" cy="144000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240000" y="6336000"/>
            <a:ext cx="672000" cy="180000"/>
          </a:xfrm>
          <a:prstGeom prst="rect">
            <a:avLst/>
          </a:prstGeom>
        </p:spPr>
        <p:txBody>
          <a:bodyPr/>
          <a:lstStyle/>
          <a:p>
            <a:fld id="{BEA30288-E3B5-4660-9128-F5D5808E1F0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644524" y="1664804"/>
            <a:ext cx="3579475" cy="4321176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6"/>
          </p:nvPr>
        </p:nvSpPr>
        <p:spPr>
          <a:xfrm>
            <a:off x="4461368" y="1664804"/>
            <a:ext cx="3600000" cy="2088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23" name="Bildplatzhalter 8"/>
          <p:cNvSpPr>
            <a:spLocks noGrp="1"/>
          </p:cNvSpPr>
          <p:nvPr>
            <p:ph type="pic" sz="quarter" idx="21"/>
          </p:nvPr>
        </p:nvSpPr>
        <p:spPr>
          <a:xfrm>
            <a:off x="8256000" y="1664804"/>
            <a:ext cx="3600000" cy="2088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24" name="Bildplatzhalter 8"/>
          <p:cNvSpPr>
            <a:spLocks noGrp="1"/>
          </p:cNvSpPr>
          <p:nvPr>
            <p:ph type="pic" sz="quarter" idx="22"/>
          </p:nvPr>
        </p:nvSpPr>
        <p:spPr>
          <a:xfrm>
            <a:off x="4461368" y="3897980"/>
            <a:ext cx="3600000" cy="2088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25" name="Bildplatzhalter 8"/>
          <p:cNvSpPr>
            <a:spLocks noGrp="1"/>
          </p:cNvSpPr>
          <p:nvPr>
            <p:ph type="pic" sz="quarter" idx="23"/>
          </p:nvPr>
        </p:nvSpPr>
        <p:spPr>
          <a:xfrm>
            <a:off x="8256000" y="3897980"/>
            <a:ext cx="3600000" cy="2088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C8753358-50C3-439F-8D9F-EA789372653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80001" y="540000"/>
            <a:ext cx="400361" cy="360000"/>
            <a:chOff x="288000" y="6335568"/>
            <a:chExt cx="180000" cy="161854"/>
          </a:xfrm>
          <a:solidFill>
            <a:schemeClr val="tx2"/>
          </a:solidFill>
        </p:grpSpPr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BE8406FD-4484-47F2-8834-7CCB3E9F9E26}"/>
                </a:ext>
              </a:extLst>
            </p:cNvPr>
            <p:cNvSpPr/>
            <p:nvPr userDrawn="1"/>
          </p:nvSpPr>
          <p:spPr>
            <a:xfrm>
              <a:off x="288000" y="6335568"/>
              <a:ext cx="180000" cy="405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9DC43643-3AFC-4684-9620-8410C563DF4A}"/>
                </a:ext>
              </a:extLst>
            </p:cNvPr>
            <p:cNvSpPr/>
            <p:nvPr userDrawn="1"/>
          </p:nvSpPr>
          <p:spPr>
            <a:xfrm>
              <a:off x="288000" y="6396245"/>
              <a:ext cx="180000" cy="405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98525702-E2BD-4EBF-A217-D769290295A9}"/>
                </a:ext>
              </a:extLst>
            </p:cNvPr>
            <p:cNvSpPr/>
            <p:nvPr userDrawn="1"/>
          </p:nvSpPr>
          <p:spPr>
            <a:xfrm>
              <a:off x="288000" y="6456922"/>
              <a:ext cx="180000" cy="405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0" name="Titelplatzhalter 1">
            <a:extLst>
              <a:ext uri="{FF2B5EF4-FFF2-40B4-BE49-F238E27FC236}">
                <a16:creationId xmlns:a16="http://schemas.microsoft.com/office/drawing/2014/main" id="{ED626D8C-8DC2-4F2B-B677-51FCC3BF5A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432000"/>
            <a:ext cx="11207450" cy="100800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/>
            </a:lvl1pPr>
          </a:lstStyle>
          <a:p>
            <a:r>
              <a:rPr lang="de-DE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4328644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randlos, Titel, Subtitel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3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B46641C8-7158-4B93-8C3D-16F2CB19FA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36000" y="1484864"/>
            <a:ext cx="5519450" cy="720000"/>
          </a:xfrm>
          <a:prstGeom prst="rect">
            <a:avLst/>
          </a:prstGeom>
        </p:spPr>
        <p:txBody>
          <a:bodyPr/>
          <a:lstStyle>
            <a:lvl1pPr marL="3175" indent="0">
              <a:buNone/>
              <a:defRPr sz="2000" b="1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6" name="Titelplatzhalter 1">
            <a:extLst>
              <a:ext uri="{FF2B5EF4-FFF2-40B4-BE49-F238E27FC236}">
                <a16:creationId xmlns:a16="http://schemas.microsoft.com/office/drawing/2014/main" id="{2AC5242B-6032-4FE6-91FC-33E61760A9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5999" y="432000"/>
            <a:ext cx="5519451" cy="100800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/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17" name="Bildplatzhalter 7">
            <a:extLst>
              <a:ext uri="{FF2B5EF4-FFF2-40B4-BE49-F238E27FC236}">
                <a16:creationId xmlns:a16="http://schemas.microsoft.com/office/drawing/2014/main" id="{8966E24D-051D-4708-B156-3A8121C6A42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83" y="6300"/>
            <a:ext cx="6084680" cy="68517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8" name="Textplatzhalter 8">
            <a:extLst>
              <a:ext uri="{FF2B5EF4-FFF2-40B4-BE49-F238E27FC236}">
                <a16:creationId xmlns:a16="http://schemas.microsoft.com/office/drawing/2014/main" id="{6B72C844-4C14-46FF-9E2B-B6321324EB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36000" y="2249729"/>
            <a:ext cx="5519450" cy="388119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244086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titel, Text, Bild randl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7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7">
            <a:extLst>
              <a:ext uri="{FF2B5EF4-FFF2-40B4-BE49-F238E27FC236}">
                <a16:creationId xmlns:a16="http://schemas.microsoft.com/office/drawing/2014/main" id="{8966E24D-051D-4708-B156-3A8121C6A42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6300"/>
            <a:ext cx="6084680" cy="68517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0FE9969E-1F68-4FB1-B9D7-287908D40B8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80001" y="540000"/>
            <a:ext cx="400361" cy="360000"/>
            <a:chOff x="288000" y="6335568"/>
            <a:chExt cx="180000" cy="161854"/>
          </a:xfrm>
          <a:solidFill>
            <a:schemeClr val="tx2"/>
          </a:solidFill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CE37A75A-67A9-4920-B315-BB752261D082}"/>
                </a:ext>
              </a:extLst>
            </p:cNvPr>
            <p:cNvSpPr/>
            <p:nvPr userDrawn="1"/>
          </p:nvSpPr>
          <p:spPr>
            <a:xfrm>
              <a:off x="288000" y="6335568"/>
              <a:ext cx="180000" cy="405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246DC1E5-7516-454D-B135-D73A0C8A9F12}"/>
                </a:ext>
              </a:extLst>
            </p:cNvPr>
            <p:cNvSpPr/>
            <p:nvPr userDrawn="1"/>
          </p:nvSpPr>
          <p:spPr>
            <a:xfrm>
              <a:off x="288000" y="6396245"/>
              <a:ext cx="180000" cy="405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CEE6D891-AD0D-456E-87A2-52998ED2F170}"/>
                </a:ext>
              </a:extLst>
            </p:cNvPr>
            <p:cNvSpPr/>
            <p:nvPr userDrawn="1"/>
          </p:nvSpPr>
          <p:spPr>
            <a:xfrm>
              <a:off x="288000" y="6456922"/>
              <a:ext cx="180000" cy="405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54B75CA1-E369-432D-BEB1-D81573271A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8000" y="2249729"/>
            <a:ext cx="5267980" cy="387144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A3FA10B8-CFBF-4CCB-A96C-B8F63EB32E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484864"/>
            <a:ext cx="5267980" cy="720000"/>
          </a:xfrm>
          <a:prstGeom prst="rect">
            <a:avLst/>
          </a:prstGeom>
        </p:spPr>
        <p:txBody>
          <a:bodyPr/>
          <a:lstStyle>
            <a:lvl1pPr marL="3175" indent="0">
              <a:buNone/>
              <a:defRPr sz="2000" b="1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BE74A509-B5C4-483B-ADC9-D2A2799288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432000"/>
            <a:ext cx="5267980" cy="100800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/>
            </a:lvl1pPr>
          </a:lstStyle>
          <a:p>
            <a:r>
              <a:rPr lang="de-DE" dirty="0"/>
              <a:t>Zweizeiliger 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0121785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, Titel, Bal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7">
            <a:extLst>
              <a:ext uri="{FF2B5EF4-FFF2-40B4-BE49-F238E27FC236}">
                <a16:creationId xmlns:a16="http://schemas.microsoft.com/office/drawing/2014/main" id="{8966E24D-051D-4708-B156-3A8121C6A42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83" y="6300"/>
            <a:ext cx="6095517" cy="68517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5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elplatzhalter 1">
            <a:extLst>
              <a:ext uri="{FF2B5EF4-FFF2-40B4-BE49-F238E27FC236}">
                <a16:creationId xmlns:a16="http://schemas.microsoft.com/office/drawing/2014/main" id="{9EA88578-00F2-46DB-84A1-6EE41B0CF3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5999" y="432000"/>
            <a:ext cx="5519451" cy="100800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/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4D64E0C-50BF-4126-B81D-1D4B83AEC22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72151" y="1808164"/>
            <a:ext cx="6095517" cy="1019175"/>
          </a:xfrm>
          <a:prstGeom prst="rect">
            <a:avLst/>
          </a:prstGeom>
          <a:solidFill>
            <a:schemeClr val="accent1"/>
          </a:solidFill>
        </p:spPr>
        <p:txBody>
          <a:bodyPr lIns="144000" rIns="144000" anchor="ctr" anchorCtr="0">
            <a:normAutofit/>
          </a:bodyPr>
          <a:lstStyle>
            <a:lvl1pPr marL="3175" indent="0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 bearbeiten</a:t>
            </a: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851A149E-9025-4607-806D-CD5E7D60386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72151" y="3340302"/>
            <a:ext cx="6095517" cy="1019175"/>
          </a:xfrm>
          <a:prstGeom prst="rect">
            <a:avLst/>
          </a:prstGeom>
          <a:solidFill>
            <a:schemeClr val="accent1"/>
          </a:solidFill>
        </p:spPr>
        <p:txBody>
          <a:bodyPr lIns="144000" rIns="144000" anchor="ctr" anchorCtr="0">
            <a:normAutofit/>
          </a:bodyPr>
          <a:lstStyle>
            <a:lvl1pPr marL="3175" indent="0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 bearbeiten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25DFF101-B95F-45CC-9CB7-80988C12A3B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772151" y="4889613"/>
            <a:ext cx="6095517" cy="1019175"/>
          </a:xfrm>
          <a:prstGeom prst="rect">
            <a:avLst/>
          </a:prstGeom>
          <a:solidFill>
            <a:schemeClr val="accent1"/>
          </a:solidFill>
        </p:spPr>
        <p:txBody>
          <a:bodyPr lIns="144000" rIns="144000" anchor="ctr" anchorCtr="0">
            <a:normAutofit/>
          </a:bodyPr>
          <a:lstStyle>
            <a:lvl1pPr marL="3175" indent="0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 bearbeiten</a:t>
            </a:r>
          </a:p>
        </p:txBody>
      </p:sp>
    </p:spTree>
    <p:extLst>
      <p:ext uri="{BB962C8B-B14F-4D97-AF65-F5344CB8AC3E}">
        <p14:creationId xmlns:p14="http://schemas.microsoft.com/office/powerpoint/2010/main" val="32696030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titel, Text,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996152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0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1056000" y="6372000"/>
            <a:ext cx="960107" cy="144000"/>
          </a:xfrm>
          <a:prstGeom prst="rect">
            <a:avLst/>
          </a:prstGeom>
        </p:spPr>
        <p:txBody>
          <a:bodyPr/>
          <a:lstStyle/>
          <a:p>
            <a:fld id="{071A1CDF-4400-4140-BB65-1B05704E63B8}" type="datetime1">
              <a:rPr lang="de-DE" smtClean="0"/>
              <a:pPr/>
              <a:t>11.11.2019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160000" y="6372000"/>
            <a:ext cx="7104000" cy="144000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240000" y="6336000"/>
            <a:ext cx="672000" cy="180000"/>
          </a:xfrm>
          <a:prstGeom prst="rect">
            <a:avLst/>
          </a:prstGeom>
        </p:spPr>
        <p:txBody>
          <a:bodyPr/>
          <a:lstStyle/>
          <a:p>
            <a:fld id="{BEA30288-E3B5-4660-9128-F5D5808E1F0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7296171" y="1808163"/>
            <a:ext cx="4559829" cy="4321176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0B25330-4585-4FFA-834C-8BFB7132592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8000" y="1808164"/>
            <a:ext cx="6408000" cy="4321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C28B8990-4768-48E2-B38D-0DE16D051F4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80001" y="540000"/>
            <a:ext cx="400361" cy="360000"/>
            <a:chOff x="288000" y="6335568"/>
            <a:chExt cx="180000" cy="161854"/>
          </a:xfrm>
          <a:solidFill>
            <a:schemeClr val="tx2"/>
          </a:solidFill>
        </p:grpSpPr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45FE277D-E5F7-431E-ADF0-D3FB92885C7D}"/>
                </a:ext>
              </a:extLst>
            </p:cNvPr>
            <p:cNvSpPr/>
            <p:nvPr userDrawn="1"/>
          </p:nvSpPr>
          <p:spPr>
            <a:xfrm>
              <a:off x="288000" y="6335568"/>
              <a:ext cx="180000" cy="405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F7658016-3111-4613-8FD7-DAB17BDF6263}"/>
                </a:ext>
              </a:extLst>
            </p:cNvPr>
            <p:cNvSpPr/>
            <p:nvPr userDrawn="1"/>
          </p:nvSpPr>
          <p:spPr>
            <a:xfrm>
              <a:off x="288000" y="6396245"/>
              <a:ext cx="180000" cy="405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B327A36A-4D77-4943-99CA-6C8CB0486CE7}"/>
                </a:ext>
              </a:extLst>
            </p:cNvPr>
            <p:cNvSpPr/>
            <p:nvPr userDrawn="1"/>
          </p:nvSpPr>
          <p:spPr>
            <a:xfrm>
              <a:off x="288000" y="6456922"/>
              <a:ext cx="180000" cy="405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EDB99752-19F1-47F9-A96B-D9885FA51CA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008000"/>
            <a:ext cx="11207450" cy="720000"/>
          </a:xfrm>
        </p:spPr>
        <p:txBody>
          <a:bodyPr/>
          <a:lstStyle>
            <a:lvl1pPr marL="3175" indent="0">
              <a:buNone/>
              <a:defRPr sz="2000" b="1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21" name="Titel 10">
            <a:extLst>
              <a:ext uri="{FF2B5EF4-FFF2-40B4-BE49-F238E27FC236}">
                <a16:creationId xmlns:a16="http://schemas.microsoft.com/office/drawing/2014/main" id="{01DD4FF3-D9F9-4427-BD3F-DDAEFE39E9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432000"/>
            <a:ext cx="11207450" cy="540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6566295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68016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3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1056000" y="6372000"/>
            <a:ext cx="960107" cy="144000"/>
          </a:xfrm>
          <a:prstGeom prst="rect">
            <a:avLst/>
          </a:prstGeom>
        </p:spPr>
        <p:txBody>
          <a:bodyPr/>
          <a:lstStyle/>
          <a:p>
            <a:fld id="{071A1CDF-4400-4140-BB65-1B05704E63B8}" type="datetime1">
              <a:rPr lang="de-DE" smtClean="0"/>
              <a:pPr/>
              <a:t>11.11.2019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160000" y="6372000"/>
            <a:ext cx="7104000" cy="144000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240000" y="6336000"/>
            <a:ext cx="672000" cy="180000"/>
          </a:xfrm>
          <a:prstGeom prst="rect">
            <a:avLst/>
          </a:prstGeom>
        </p:spPr>
        <p:txBody>
          <a:bodyPr/>
          <a:lstStyle/>
          <a:p>
            <a:fld id="{BEA30288-E3B5-4660-9128-F5D5808E1F0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3"/>
          </p:nvPr>
        </p:nvSpPr>
        <p:spPr>
          <a:xfrm>
            <a:off x="648000" y="1808164"/>
            <a:ext cx="11208001" cy="3817081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647999" y="5768976"/>
            <a:ext cx="11208001" cy="360363"/>
          </a:xfrm>
          <a:prstGeom prst="rect">
            <a:avLst/>
          </a:prstGeom>
        </p:spPr>
        <p:txBody>
          <a:bodyPr/>
          <a:lstStyle>
            <a:lvl1pPr marL="3175" indent="0" algn="r">
              <a:buNone/>
              <a:defRPr sz="12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EAC02F54-1A11-43AE-9DBC-915516FE59B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80001" y="540000"/>
            <a:ext cx="400361" cy="360000"/>
            <a:chOff x="288000" y="6335568"/>
            <a:chExt cx="180000" cy="161854"/>
          </a:xfrm>
          <a:solidFill>
            <a:schemeClr val="tx2"/>
          </a:solidFill>
        </p:grpSpPr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3C2DB1BA-E26B-4BEF-AF3A-4F1EF62A8B56}"/>
                </a:ext>
              </a:extLst>
            </p:cNvPr>
            <p:cNvSpPr/>
            <p:nvPr userDrawn="1"/>
          </p:nvSpPr>
          <p:spPr>
            <a:xfrm>
              <a:off x="288000" y="6335568"/>
              <a:ext cx="180000" cy="405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A676CC11-F2F6-494D-B6D9-E9F58B8616D1}"/>
                </a:ext>
              </a:extLst>
            </p:cNvPr>
            <p:cNvSpPr/>
            <p:nvPr userDrawn="1"/>
          </p:nvSpPr>
          <p:spPr>
            <a:xfrm>
              <a:off x="288000" y="6396245"/>
              <a:ext cx="180000" cy="405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75D9CAFF-03FB-4660-9A8E-4DA6B2BBBD89}"/>
                </a:ext>
              </a:extLst>
            </p:cNvPr>
            <p:cNvSpPr/>
            <p:nvPr userDrawn="1"/>
          </p:nvSpPr>
          <p:spPr>
            <a:xfrm>
              <a:off x="288000" y="6456922"/>
              <a:ext cx="180000" cy="405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18F16954-AC50-4900-B38B-3BA01F624D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8000" y="1008000"/>
            <a:ext cx="11207450" cy="720000"/>
          </a:xfrm>
        </p:spPr>
        <p:txBody>
          <a:bodyPr/>
          <a:lstStyle>
            <a:lvl1pPr marL="3175" indent="0">
              <a:buNone/>
              <a:defRPr sz="2000" b="1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21" name="Titel 10">
            <a:extLst>
              <a:ext uri="{FF2B5EF4-FFF2-40B4-BE49-F238E27FC236}">
                <a16:creationId xmlns:a16="http://schemas.microsoft.com/office/drawing/2014/main" id="{321FD948-97D2-4545-B0C7-81396F8DB8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432000"/>
            <a:ext cx="11207450" cy="540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8227232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, Text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6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1056000" y="6372000"/>
            <a:ext cx="960107" cy="144000"/>
          </a:xfrm>
          <a:prstGeom prst="rect">
            <a:avLst/>
          </a:prstGeom>
        </p:spPr>
        <p:txBody>
          <a:bodyPr/>
          <a:lstStyle/>
          <a:p>
            <a:fld id="{071A1CDF-4400-4140-BB65-1B05704E63B8}" type="datetime1">
              <a:rPr lang="de-DE" smtClean="0"/>
              <a:pPr/>
              <a:t>11.11.2019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160000" y="6372000"/>
            <a:ext cx="7104000" cy="144000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240000" y="6336000"/>
            <a:ext cx="672000" cy="180000"/>
          </a:xfrm>
          <a:prstGeom prst="rect">
            <a:avLst/>
          </a:prstGeom>
        </p:spPr>
        <p:txBody>
          <a:bodyPr/>
          <a:lstStyle/>
          <a:p>
            <a:fld id="{BEA30288-E3B5-4660-9128-F5D5808E1F0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3"/>
          </p:nvPr>
        </p:nvSpPr>
        <p:spPr>
          <a:xfrm>
            <a:off x="648000" y="1808164"/>
            <a:ext cx="11208001" cy="229583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CD486A9E-B614-4A9B-9738-005DC7C64B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8000" y="4320000"/>
            <a:ext cx="5448000" cy="1800000"/>
          </a:xfrm>
          <a:prstGeom prst="rect">
            <a:avLst/>
          </a:prstGeom>
          <a:solidFill>
            <a:schemeClr val="accent1"/>
          </a:solidFill>
        </p:spPr>
        <p:txBody>
          <a:bodyPr lIns="144000" tIns="72000" rIns="144000" bIns="72000"/>
          <a:lstStyle>
            <a:lvl1pPr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id="{13B0F3BD-EA28-4F28-B0A6-3C5110E2F35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08000" y="4320000"/>
            <a:ext cx="5448000" cy="1800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144000" tIns="72000" rIns="144000" bIns="72000"/>
          <a:lstStyle>
            <a:lvl1pPr>
              <a:spcBef>
                <a:spcPts val="0"/>
              </a:spcBef>
              <a:spcAft>
                <a:spcPts val="0"/>
              </a:spcAft>
              <a:defRPr sz="1600"/>
            </a:lvl1pPr>
            <a:lvl2pPr>
              <a:spcBef>
                <a:spcPts val="0"/>
              </a:spcBef>
              <a:spcAft>
                <a:spcPts val="0"/>
              </a:spcAft>
              <a:defRPr sz="1600"/>
            </a:lvl2pPr>
            <a:lvl3pPr>
              <a:spcBef>
                <a:spcPts val="0"/>
              </a:spcBef>
              <a:spcAft>
                <a:spcPts val="0"/>
              </a:spcAft>
              <a:defRPr sz="1600"/>
            </a:lvl3pPr>
            <a:lvl4pPr>
              <a:spcBef>
                <a:spcPts val="0"/>
              </a:spcBef>
              <a:spcAft>
                <a:spcPts val="0"/>
              </a:spcAft>
              <a:defRPr sz="1600"/>
            </a:lvl4pPr>
            <a:lvl5pPr>
              <a:spcBef>
                <a:spcPts val="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75AD83D1-6D1D-43E3-A76C-B8BA1CCB13D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80001" y="540000"/>
            <a:ext cx="400361" cy="360000"/>
            <a:chOff x="288000" y="6335568"/>
            <a:chExt cx="180000" cy="161854"/>
          </a:xfrm>
          <a:solidFill>
            <a:schemeClr val="tx2"/>
          </a:solidFill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7FB04B04-F505-42E0-A075-99603B650CAC}"/>
                </a:ext>
              </a:extLst>
            </p:cNvPr>
            <p:cNvSpPr/>
            <p:nvPr userDrawn="1"/>
          </p:nvSpPr>
          <p:spPr>
            <a:xfrm>
              <a:off x="288000" y="6335568"/>
              <a:ext cx="180000" cy="405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D56C7B02-CECC-45FB-834E-F0E16127065D}"/>
                </a:ext>
              </a:extLst>
            </p:cNvPr>
            <p:cNvSpPr/>
            <p:nvPr userDrawn="1"/>
          </p:nvSpPr>
          <p:spPr>
            <a:xfrm>
              <a:off x="288000" y="6396245"/>
              <a:ext cx="180000" cy="405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8D7FF3AF-F151-437C-ABE9-A1EF40BFD4B4}"/>
                </a:ext>
              </a:extLst>
            </p:cNvPr>
            <p:cNvSpPr/>
            <p:nvPr userDrawn="1"/>
          </p:nvSpPr>
          <p:spPr>
            <a:xfrm>
              <a:off x="288000" y="6456922"/>
              <a:ext cx="180000" cy="405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48616CA8-8F30-48F8-BAE9-40688BBBF8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008000"/>
            <a:ext cx="11207450" cy="720000"/>
          </a:xfrm>
        </p:spPr>
        <p:txBody>
          <a:bodyPr/>
          <a:lstStyle>
            <a:lvl1pPr marL="3175" indent="0">
              <a:buNone/>
              <a:defRPr sz="2000" b="1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24" name="Titel 10">
            <a:extLst>
              <a:ext uri="{FF2B5EF4-FFF2-40B4-BE49-F238E27FC236}">
                <a16:creationId xmlns:a16="http://schemas.microsoft.com/office/drawing/2014/main" id="{8576009B-537F-4A82-81B2-065173CD30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432000"/>
            <a:ext cx="11207450" cy="540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044964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>
            <a:extLst>
              <a:ext uri="{FF2B5EF4-FFF2-40B4-BE49-F238E27FC236}">
                <a16:creationId xmlns:a16="http://schemas.microsoft.com/office/drawing/2014/main" id="{612D1546-BCD9-1943-87E9-5B220B93E6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4560000" cy="6858000"/>
          </a:xfrm>
          <a:prstGeom prst="rect">
            <a:avLst/>
          </a:prstGeom>
        </p:spPr>
      </p:pic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946964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A25038AB-680D-4821-B82A-67EE5E2D54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4524" y="5302925"/>
            <a:ext cx="3771475" cy="828000"/>
          </a:xfrm>
          <a:prstGeom prst="rect">
            <a:avLst/>
          </a:prstGeom>
        </p:spPr>
        <p:txBody>
          <a:bodyPr anchor="b" anchorCtr="0"/>
          <a:lstStyle>
            <a:lvl1pPr marL="3175" indent="0" algn="r">
              <a:buNone/>
              <a:defRPr sz="1800" b="1" i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274887" indent="0">
              <a:buNone/>
              <a:defRPr sz="1800" b="1" i="1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541712" indent="0">
              <a:buNone/>
              <a:defRPr sz="1800" b="1" i="1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810125" indent="0">
              <a:buNone/>
              <a:defRPr sz="1800" b="1" i="1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1081712" indent="0">
              <a:buNone/>
              <a:defRPr sz="1800" b="1" i="1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Beispiel EBS Executive School</a:t>
            </a:r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D46BD713-E2DD-4219-AE9B-4322FDA715CC}"/>
              </a:ext>
            </a:extLst>
          </p:cNvPr>
          <p:cNvCxnSpPr/>
          <p:nvPr userDrawn="1"/>
        </p:nvCxnSpPr>
        <p:spPr>
          <a:xfrm>
            <a:off x="4944000" y="2700000"/>
            <a:ext cx="1920000" cy="0"/>
          </a:xfrm>
          <a:prstGeom prst="line">
            <a:avLst/>
          </a:prstGeom>
          <a:ln w="762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D6B8ED54-4488-4201-A7FE-9DC6DB93E803}"/>
              </a:ext>
            </a:extLst>
          </p:cNvPr>
          <p:cNvGrpSpPr/>
          <p:nvPr userDrawn="1"/>
        </p:nvGrpSpPr>
        <p:grpSpPr>
          <a:xfrm>
            <a:off x="3150386" y="1044000"/>
            <a:ext cx="1433446" cy="1288938"/>
            <a:chOff x="7085566" y="1616834"/>
            <a:chExt cx="1656184" cy="1489222"/>
          </a:xfrm>
        </p:grpSpPr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CA241BF3-B928-43AF-8665-8BF424FFCC2B}"/>
                </a:ext>
              </a:extLst>
            </p:cNvPr>
            <p:cNvSpPr/>
            <p:nvPr userDrawn="1"/>
          </p:nvSpPr>
          <p:spPr>
            <a:xfrm>
              <a:off x="7085566" y="1616834"/>
              <a:ext cx="1656184" cy="37263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B845119D-A2F8-4489-AE8E-F06011A78657}"/>
                </a:ext>
              </a:extLst>
            </p:cNvPr>
            <p:cNvSpPr/>
            <p:nvPr userDrawn="1"/>
          </p:nvSpPr>
          <p:spPr>
            <a:xfrm>
              <a:off x="7085566" y="2175126"/>
              <a:ext cx="1656184" cy="37263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147C6515-6258-4A66-A466-8C1252E6EA6F}"/>
                </a:ext>
              </a:extLst>
            </p:cNvPr>
            <p:cNvSpPr/>
            <p:nvPr userDrawn="1"/>
          </p:nvSpPr>
          <p:spPr>
            <a:xfrm>
              <a:off x="7085566" y="2733419"/>
              <a:ext cx="1656184" cy="37263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7" name="Titel 1">
            <a:extLst>
              <a:ext uri="{FF2B5EF4-FFF2-40B4-BE49-F238E27FC236}">
                <a16:creationId xmlns:a16="http://schemas.microsoft.com/office/drawing/2014/main" id="{2D3BB5E6-8E06-4A22-BA1F-C762D9E71DF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87999" y="900000"/>
            <a:ext cx="7056000" cy="1584000"/>
          </a:xfrm>
        </p:spPr>
        <p:txBody>
          <a:bodyPr anchor="b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31BDC379-58DE-44BB-8D94-E12CDD4FBAE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88000" y="2911432"/>
            <a:ext cx="7055999" cy="1980258"/>
          </a:xfrm>
        </p:spPr>
        <p:txBody>
          <a:bodyPr/>
          <a:lstStyle>
            <a:lvl1pPr marL="0" indent="0" algn="l">
              <a:buNone/>
              <a:defRPr sz="2800" b="1" i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672582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, 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792135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6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1056000" y="6372000"/>
            <a:ext cx="960107" cy="144000"/>
          </a:xfrm>
          <a:prstGeom prst="rect">
            <a:avLst/>
          </a:prstGeom>
        </p:spPr>
        <p:txBody>
          <a:bodyPr/>
          <a:lstStyle/>
          <a:p>
            <a:fld id="{071A1CDF-4400-4140-BB65-1B05704E63B8}" type="datetime1">
              <a:rPr lang="de-DE" smtClean="0"/>
              <a:pPr/>
              <a:t>11.11.2019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160000" y="6372000"/>
            <a:ext cx="7104000" cy="144000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240000" y="6336000"/>
            <a:ext cx="672000" cy="180000"/>
          </a:xfrm>
          <a:prstGeom prst="rect">
            <a:avLst/>
          </a:prstGeom>
        </p:spPr>
        <p:txBody>
          <a:bodyPr/>
          <a:lstStyle/>
          <a:p>
            <a:fld id="{BEA30288-E3B5-4660-9128-F5D5808E1F0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3"/>
          </p:nvPr>
        </p:nvSpPr>
        <p:spPr>
          <a:xfrm>
            <a:off x="6287050" y="1808163"/>
            <a:ext cx="5568951" cy="378107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6287050" y="5768976"/>
            <a:ext cx="5568951" cy="360363"/>
          </a:xfrm>
          <a:prstGeom prst="rect">
            <a:avLst/>
          </a:prstGeom>
        </p:spPr>
        <p:txBody>
          <a:bodyPr/>
          <a:lstStyle>
            <a:lvl1pPr marL="3175" indent="0" algn="ctr">
              <a:buNone/>
              <a:defRPr sz="12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71E5BE77-97EE-44F2-8218-06ADC29A0EA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48000" y="1808164"/>
            <a:ext cx="5471049" cy="4321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9E52630F-7E80-4CE0-A0AF-B68EF2468F5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80001" y="540000"/>
            <a:ext cx="400361" cy="360000"/>
            <a:chOff x="288000" y="6335568"/>
            <a:chExt cx="180000" cy="161854"/>
          </a:xfrm>
          <a:solidFill>
            <a:schemeClr val="tx2"/>
          </a:solidFill>
        </p:grpSpPr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F7D374F0-71AF-450C-9E05-9CE67443AA75}"/>
                </a:ext>
              </a:extLst>
            </p:cNvPr>
            <p:cNvSpPr/>
            <p:nvPr userDrawn="1"/>
          </p:nvSpPr>
          <p:spPr>
            <a:xfrm>
              <a:off x="288000" y="6335568"/>
              <a:ext cx="180000" cy="405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2685805D-7A53-4A62-9203-216790737AC6}"/>
                </a:ext>
              </a:extLst>
            </p:cNvPr>
            <p:cNvSpPr/>
            <p:nvPr userDrawn="1"/>
          </p:nvSpPr>
          <p:spPr>
            <a:xfrm>
              <a:off x="288000" y="6396245"/>
              <a:ext cx="180000" cy="405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30657E47-BBA9-48DB-B886-3974B2857D32}"/>
                </a:ext>
              </a:extLst>
            </p:cNvPr>
            <p:cNvSpPr/>
            <p:nvPr userDrawn="1"/>
          </p:nvSpPr>
          <p:spPr>
            <a:xfrm>
              <a:off x="288000" y="6456922"/>
              <a:ext cx="180000" cy="405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81093621-3B19-48DE-871E-30B43C194C2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008000"/>
            <a:ext cx="11207450" cy="720000"/>
          </a:xfrm>
        </p:spPr>
        <p:txBody>
          <a:bodyPr/>
          <a:lstStyle>
            <a:lvl1pPr marL="3175" indent="0">
              <a:buNone/>
              <a:defRPr sz="2000" b="1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23" name="Titel 10">
            <a:extLst>
              <a:ext uri="{FF2B5EF4-FFF2-40B4-BE49-F238E27FC236}">
                <a16:creationId xmlns:a16="http://schemas.microsoft.com/office/drawing/2014/main" id="{81085F8D-CFF4-4271-A74F-3B6DFDD939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432000"/>
            <a:ext cx="11207450" cy="540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3586926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1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fik 11">
            <a:extLst>
              <a:ext uri="{FF2B5EF4-FFF2-40B4-BE49-F238E27FC236}">
                <a16:creationId xmlns:a16="http://schemas.microsoft.com/office/drawing/2014/main" id="{1E879802-7E06-496A-B2C4-EE8E8272E8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12191999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2307749"/>
            <a:ext cx="6096000" cy="1130291"/>
          </a:xfrm>
          <a:prstGeom prst="rect">
            <a:avLst/>
          </a:prstGeom>
          <a:solidFill>
            <a:schemeClr val="accent1"/>
          </a:solidFill>
        </p:spPr>
        <p:txBody>
          <a:bodyPr wrap="square" lIns="288000" tIns="72000" rIns="72000" bIns="7200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13" name="Freeform 72">
            <a:extLst>
              <a:ext uri="{FF2B5EF4-FFF2-40B4-BE49-F238E27FC236}">
                <a16:creationId xmlns:a16="http://schemas.microsoft.com/office/drawing/2014/main" id="{115D230A-CF81-41FB-B1E6-A81F75D1628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72781" y="6336000"/>
            <a:ext cx="1807219" cy="177584"/>
          </a:xfrm>
          <a:custGeom>
            <a:avLst/>
            <a:gdLst>
              <a:gd name="T0" fmla="*/ 2669 w 5760"/>
              <a:gd name="T1" fmla="*/ 458 h 566"/>
              <a:gd name="T2" fmla="*/ 2401 w 5760"/>
              <a:gd name="T3" fmla="*/ 346 h 566"/>
              <a:gd name="T4" fmla="*/ 2333 w 5760"/>
              <a:gd name="T5" fmla="*/ 341 h 566"/>
              <a:gd name="T6" fmla="*/ 2627 w 5760"/>
              <a:gd name="T7" fmla="*/ 545 h 566"/>
              <a:gd name="T8" fmla="*/ 2791 w 5760"/>
              <a:gd name="T9" fmla="*/ 66 h 566"/>
              <a:gd name="T10" fmla="*/ 3006 w 5760"/>
              <a:gd name="T11" fmla="*/ 215 h 566"/>
              <a:gd name="T12" fmla="*/ 2864 w 5760"/>
              <a:gd name="T13" fmla="*/ 521 h 566"/>
              <a:gd name="T14" fmla="*/ 3023 w 5760"/>
              <a:gd name="T15" fmla="*/ 248 h 566"/>
              <a:gd name="T16" fmla="*/ 3193 w 5760"/>
              <a:gd name="T17" fmla="*/ 531 h 566"/>
              <a:gd name="T18" fmla="*/ 3361 w 5760"/>
              <a:gd name="T19" fmla="*/ 59 h 566"/>
              <a:gd name="T20" fmla="*/ 3373 w 5760"/>
              <a:gd name="T21" fmla="*/ 199 h 566"/>
              <a:gd name="T22" fmla="*/ 3256 w 5760"/>
              <a:gd name="T23" fmla="*/ 533 h 566"/>
              <a:gd name="T24" fmla="*/ 3715 w 5760"/>
              <a:gd name="T25" fmla="*/ 283 h 566"/>
              <a:gd name="T26" fmla="*/ 3493 w 5760"/>
              <a:gd name="T27" fmla="*/ 260 h 566"/>
              <a:gd name="T28" fmla="*/ 4119 w 5760"/>
              <a:gd name="T29" fmla="*/ 299 h 566"/>
              <a:gd name="T30" fmla="*/ 3887 w 5760"/>
              <a:gd name="T31" fmla="*/ 259 h 566"/>
              <a:gd name="T32" fmla="*/ 3953 w 5760"/>
              <a:gd name="T33" fmla="*/ 559 h 566"/>
              <a:gd name="T34" fmla="*/ 3993 w 5760"/>
              <a:gd name="T35" fmla="*/ 508 h 566"/>
              <a:gd name="T36" fmla="*/ 4123 w 5760"/>
              <a:gd name="T37" fmla="*/ 321 h 566"/>
              <a:gd name="T38" fmla="*/ 4054 w 5760"/>
              <a:gd name="T39" fmla="*/ 309 h 566"/>
              <a:gd name="T40" fmla="*/ 4191 w 5760"/>
              <a:gd name="T41" fmla="*/ 252 h 566"/>
              <a:gd name="T42" fmla="*/ 4306 w 5760"/>
              <a:gd name="T43" fmla="*/ 526 h 566"/>
              <a:gd name="T44" fmla="*/ 4400 w 5760"/>
              <a:gd name="T45" fmla="*/ 281 h 566"/>
              <a:gd name="T46" fmla="*/ 4538 w 5760"/>
              <a:gd name="T47" fmla="*/ 292 h 566"/>
              <a:gd name="T48" fmla="*/ 4675 w 5760"/>
              <a:gd name="T49" fmla="*/ 215 h 566"/>
              <a:gd name="T50" fmla="*/ 4483 w 5760"/>
              <a:gd name="T51" fmla="*/ 313 h 566"/>
              <a:gd name="T52" fmla="*/ 4600 w 5760"/>
              <a:gd name="T53" fmla="*/ 536 h 566"/>
              <a:gd name="T54" fmla="*/ 4573 w 5760"/>
              <a:gd name="T55" fmla="*/ 563 h 566"/>
              <a:gd name="T56" fmla="*/ 4839 w 5760"/>
              <a:gd name="T57" fmla="*/ 133 h 566"/>
              <a:gd name="T58" fmla="*/ 4806 w 5760"/>
              <a:gd name="T59" fmla="*/ 70 h 566"/>
              <a:gd name="T60" fmla="*/ 4790 w 5760"/>
              <a:gd name="T61" fmla="*/ 255 h 566"/>
              <a:gd name="T62" fmla="*/ 4879 w 5760"/>
              <a:gd name="T63" fmla="*/ 512 h 566"/>
              <a:gd name="T64" fmla="*/ 5071 w 5760"/>
              <a:gd name="T65" fmla="*/ 211 h 566"/>
              <a:gd name="T66" fmla="*/ 5168 w 5760"/>
              <a:gd name="T67" fmla="*/ 505 h 566"/>
              <a:gd name="T68" fmla="*/ 5295 w 5760"/>
              <a:gd name="T69" fmla="*/ 56 h 566"/>
              <a:gd name="T70" fmla="*/ 5435 w 5760"/>
              <a:gd name="T71" fmla="*/ 129 h 566"/>
              <a:gd name="T72" fmla="*/ 5383 w 5760"/>
              <a:gd name="T73" fmla="*/ 94 h 566"/>
              <a:gd name="T74" fmla="*/ 5463 w 5760"/>
              <a:gd name="T75" fmla="*/ 276 h 566"/>
              <a:gd name="T76" fmla="*/ 5225 w 5760"/>
              <a:gd name="T77" fmla="*/ 300 h 566"/>
              <a:gd name="T78" fmla="*/ 5377 w 5760"/>
              <a:gd name="T79" fmla="*/ 250 h 566"/>
              <a:gd name="T80" fmla="*/ 5225 w 5760"/>
              <a:gd name="T81" fmla="*/ 503 h 566"/>
              <a:gd name="T82" fmla="*/ 5465 w 5760"/>
              <a:gd name="T83" fmla="*/ 563 h 566"/>
              <a:gd name="T84" fmla="*/ 5286 w 5760"/>
              <a:gd name="T85" fmla="*/ 445 h 566"/>
              <a:gd name="T86" fmla="*/ 5659 w 5760"/>
              <a:gd name="T87" fmla="*/ 465 h 566"/>
              <a:gd name="T88" fmla="*/ 5606 w 5760"/>
              <a:gd name="T89" fmla="*/ 526 h 566"/>
              <a:gd name="T90" fmla="*/ 2066 w 5760"/>
              <a:gd name="T91" fmla="*/ 414 h 566"/>
              <a:gd name="T92" fmla="*/ 888 w 5760"/>
              <a:gd name="T93" fmla="*/ 58 h 566"/>
              <a:gd name="T94" fmla="*/ 701 w 5760"/>
              <a:gd name="T95" fmla="*/ 554 h 566"/>
              <a:gd name="T96" fmla="*/ 924 w 5760"/>
              <a:gd name="T97" fmla="*/ 318 h 566"/>
              <a:gd name="T98" fmla="*/ 772 w 5760"/>
              <a:gd name="T99" fmla="*/ 75 h 566"/>
              <a:gd name="T100" fmla="*/ 715 w 5760"/>
              <a:gd name="T101" fmla="*/ 519 h 566"/>
              <a:gd name="T102" fmla="*/ 820 w 5760"/>
              <a:gd name="T103" fmla="*/ 362 h 566"/>
              <a:gd name="T104" fmla="*/ 1131 w 5760"/>
              <a:gd name="T105" fmla="*/ 189 h 566"/>
              <a:gd name="T106" fmla="*/ 1281 w 5760"/>
              <a:gd name="T107" fmla="*/ 108 h 566"/>
              <a:gd name="T108" fmla="*/ 1024 w 5760"/>
              <a:gd name="T109" fmla="*/ 73 h 566"/>
              <a:gd name="T110" fmla="*/ 1211 w 5760"/>
              <a:gd name="T111" fmla="*/ 362 h 566"/>
              <a:gd name="T112" fmla="*/ 1031 w 5760"/>
              <a:gd name="T113" fmla="*/ 449 h 566"/>
              <a:gd name="T114" fmla="*/ 1143 w 5760"/>
              <a:gd name="T115" fmla="*/ 566 h 566"/>
              <a:gd name="T116" fmla="*/ 1328 w 5760"/>
              <a:gd name="T117" fmla="*/ 309 h 566"/>
              <a:gd name="T118" fmla="*/ 199 w 5760"/>
              <a:gd name="T119" fmla="*/ 486 h 566"/>
              <a:gd name="T120" fmla="*/ 330 w 5760"/>
              <a:gd name="T121" fmla="*/ 239 h 566"/>
              <a:gd name="T122" fmla="*/ 379 w 5760"/>
              <a:gd name="T123" fmla="*/ 98 h 566"/>
              <a:gd name="T124" fmla="*/ 72 w 5760"/>
              <a:gd name="T125" fmla="*/ 503 h 5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760" h="566">
                <a:moveTo>
                  <a:pt x="2618" y="66"/>
                </a:moveTo>
                <a:lnTo>
                  <a:pt x="2618" y="66"/>
                </a:lnTo>
                <a:lnTo>
                  <a:pt x="2637" y="68"/>
                </a:lnTo>
                <a:lnTo>
                  <a:pt x="2653" y="70"/>
                </a:lnTo>
                <a:lnTo>
                  <a:pt x="2667" y="73"/>
                </a:lnTo>
                <a:lnTo>
                  <a:pt x="2676" y="77"/>
                </a:lnTo>
                <a:lnTo>
                  <a:pt x="2684" y="84"/>
                </a:lnTo>
                <a:lnTo>
                  <a:pt x="2690" y="91"/>
                </a:lnTo>
                <a:lnTo>
                  <a:pt x="2693" y="100"/>
                </a:lnTo>
                <a:lnTo>
                  <a:pt x="2695" y="110"/>
                </a:lnTo>
                <a:lnTo>
                  <a:pt x="2695" y="110"/>
                </a:lnTo>
                <a:lnTo>
                  <a:pt x="2698" y="129"/>
                </a:lnTo>
                <a:lnTo>
                  <a:pt x="2700" y="155"/>
                </a:lnTo>
                <a:lnTo>
                  <a:pt x="2700" y="192"/>
                </a:lnTo>
                <a:lnTo>
                  <a:pt x="2702" y="239"/>
                </a:lnTo>
                <a:lnTo>
                  <a:pt x="2702" y="299"/>
                </a:lnTo>
                <a:lnTo>
                  <a:pt x="2702" y="299"/>
                </a:lnTo>
                <a:lnTo>
                  <a:pt x="2700" y="344"/>
                </a:lnTo>
                <a:lnTo>
                  <a:pt x="2697" y="367"/>
                </a:lnTo>
                <a:lnTo>
                  <a:pt x="2693" y="388"/>
                </a:lnTo>
                <a:lnTo>
                  <a:pt x="2690" y="407"/>
                </a:lnTo>
                <a:lnTo>
                  <a:pt x="2684" y="426"/>
                </a:lnTo>
                <a:lnTo>
                  <a:pt x="2677" y="442"/>
                </a:lnTo>
                <a:lnTo>
                  <a:pt x="2669" y="458"/>
                </a:lnTo>
                <a:lnTo>
                  <a:pt x="2660" y="472"/>
                </a:lnTo>
                <a:lnTo>
                  <a:pt x="2649" y="486"/>
                </a:lnTo>
                <a:lnTo>
                  <a:pt x="2637" y="496"/>
                </a:lnTo>
                <a:lnTo>
                  <a:pt x="2623" y="505"/>
                </a:lnTo>
                <a:lnTo>
                  <a:pt x="2607" y="512"/>
                </a:lnTo>
                <a:lnTo>
                  <a:pt x="2590" y="517"/>
                </a:lnTo>
                <a:lnTo>
                  <a:pt x="2571" y="521"/>
                </a:lnTo>
                <a:lnTo>
                  <a:pt x="2551" y="522"/>
                </a:lnTo>
                <a:lnTo>
                  <a:pt x="2551" y="522"/>
                </a:lnTo>
                <a:lnTo>
                  <a:pt x="2532" y="521"/>
                </a:lnTo>
                <a:lnTo>
                  <a:pt x="2517" y="519"/>
                </a:lnTo>
                <a:lnTo>
                  <a:pt x="2501" y="514"/>
                </a:lnTo>
                <a:lnTo>
                  <a:pt x="2485" y="508"/>
                </a:lnTo>
                <a:lnTo>
                  <a:pt x="2473" y="501"/>
                </a:lnTo>
                <a:lnTo>
                  <a:pt x="2461" y="493"/>
                </a:lnTo>
                <a:lnTo>
                  <a:pt x="2448" y="482"/>
                </a:lnTo>
                <a:lnTo>
                  <a:pt x="2440" y="470"/>
                </a:lnTo>
                <a:lnTo>
                  <a:pt x="2431" y="456"/>
                </a:lnTo>
                <a:lnTo>
                  <a:pt x="2422" y="442"/>
                </a:lnTo>
                <a:lnTo>
                  <a:pt x="2417" y="425"/>
                </a:lnTo>
                <a:lnTo>
                  <a:pt x="2412" y="407"/>
                </a:lnTo>
                <a:lnTo>
                  <a:pt x="2406" y="388"/>
                </a:lnTo>
                <a:lnTo>
                  <a:pt x="2403" y="369"/>
                </a:lnTo>
                <a:lnTo>
                  <a:pt x="2401" y="346"/>
                </a:lnTo>
                <a:lnTo>
                  <a:pt x="2401" y="323"/>
                </a:lnTo>
                <a:lnTo>
                  <a:pt x="2401" y="145"/>
                </a:lnTo>
                <a:lnTo>
                  <a:pt x="2401" y="145"/>
                </a:lnTo>
                <a:lnTo>
                  <a:pt x="2401" y="121"/>
                </a:lnTo>
                <a:lnTo>
                  <a:pt x="2403" y="103"/>
                </a:lnTo>
                <a:lnTo>
                  <a:pt x="2406" y="89"/>
                </a:lnTo>
                <a:lnTo>
                  <a:pt x="2412" y="80"/>
                </a:lnTo>
                <a:lnTo>
                  <a:pt x="2420" y="73"/>
                </a:lnTo>
                <a:lnTo>
                  <a:pt x="2433" y="70"/>
                </a:lnTo>
                <a:lnTo>
                  <a:pt x="2450" y="66"/>
                </a:lnTo>
                <a:lnTo>
                  <a:pt x="2471" y="66"/>
                </a:lnTo>
                <a:lnTo>
                  <a:pt x="2471" y="44"/>
                </a:lnTo>
                <a:lnTo>
                  <a:pt x="2265" y="44"/>
                </a:lnTo>
                <a:lnTo>
                  <a:pt x="2265" y="66"/>
                </a:lnTo>
                <a:lnTo>
                  <a:pt x="2265" y="66"/>
                </a:lnTo>
                <a:lnTo>
                  <a:pt x="2286" y="68"/>
                </a:lnTo>
                <a:lnTo>
                  <a:pt x="2302" y="70"/>
                </a:lnTo>
                <a:lnTo>
                  <a:pt x="2314" y="75"/>
                </a:lnTo>
                <a:lnTo>
                  <a:pt x="2323" y="80"/>
                </a:lnTo>
                <a:lnTo>
                  <a:pt x="2328" y="91"/>
                </a:lnTo>
                <a:lnTo>
                  <a:pt x="2331" y="103"/>
                </a:lnTo>
                <a:lnTo>
                  <a:pt x="2333" y="121"/>
                </a:lnTo>
                <a:lnTo>
                  <a:pt x="2333" y="145"/>
                </a:lnTo>
                <a:lnTo>
                  <a:pt x="2333" y="341"/>
                </a:lnTo>
                <a:lnTo>
                  <a:pt x="2333" y="341"/>
                </a:lnTo>
                <a:lnTo>
                  <a:pt x="2335" y="374"/>
                </a:lnTo>
                <a:lnTo>
                  <a:pt x="2338" y="404"/>
                </a:lnTo>
                <a:lnTo>
                  <a:pt x="2343" y="430"/>
                </a:lnTo>
                <a:lnTo>
                  <a:pt x="2350" y="454"/>
                </a:lnTo>
                <a:lnTo>
                  <a:pt x="2361" y="477"/>
                </a:lnTo>
                <a:lnTo>
                  <a:pt x="2373" y="496"/>
                </a:lnTo>
                <a:lnTo>
                  <a:pt x="2387" y="512"/>
                </a:lnTo>
                <a:lnTo>
                  <a:pt x="2403" y="528"/>
                </a:lnTo>
                <a:lnTo>
                  <a:pt x="2403" y="528"/>
                </a:lnTo>
                <a:lnTo>
                  <a:pt x="2417" y="536"/>
                </a:lnTo>
                <a:lnTo>
                  <a:pt x="2433" y="545"/>
                </a:lnTo>
                <a:lnTo>
                  <a:pt x="2447" y="550"/>
                </a:lnTo>
                <a:lnTo>
                  <a:pt x="2462" y="556"/>
                </a:lnTo>
                <a:lnTo>
                  <a:pt x="2480" y="559"/>
                </a:lnTo>
                <a:lnTo>
                  <a:pt x="2497" y="563"/>
                </a:lnTo>
                <a:lnTo>
                  <a:pt x="2513" y="564"/>
                </a:lnTo>
                <a:lnTo>
                  <a:pt x="2530" y="564"/>
                </a:lnTo>
                <a:lnTo>
                  <a:pt x="2530" y="564"/>
                </a:lnTo>
                <a:lnTo>
                  <a:pt x="2551" y="564"/>
                </a:lnTo>
                <a:lnTo>
                  <a:pt x="2571" y="561"/>
                </a:lnTo>
                <a:lnTo>
                  <a:pt x="2590" y="557"/>
                </a:lnTo>
                <a:lnTo>
                  <a:pt x="2607" y="552"/>
                </a:lnTo>
                <a:lnTo>
                  <a:pt x="2627" y="545"/>
                </a:lnTo>
                <a:lnTo>
                  <a:pt x="2642" y="535"/>
                </a:lnTo>
                <a:lnTo>
                  <a:pt x="2658" y="524"/>
                </a:lnTo>
                <a:lnTo>
                  <a:pt x="2674" y="510"/>
                </a:lnTo>
                <a:lnTo>
                  <a:pt x="2674" y="510"/>
                </a:lnTo>
                <a:lnTo>
                  <a:pt x="2690" y="493"/>
                </a:lnTo>
                <a:lnTo>
                  <a:pt x="2702" y="472"/>
                </a:lnTo>
                <a:lnTo>
                  <a:pt x="2712" y="449"/>
                </a:lnTo>
                <a:lnTo>
                  <a:pt x="2721" y="425"/>
                </a:lnTo>
                <a:lnTo>
                  <a:pt x="2726" y="397"/>
                </a:lnTo>
                <a:lnTo>
                  <a:pt x="2731" y="369"/>
                </a:lnTo>
                <a:lnTo>
                  <a:pt x="2733" y="337"/>
                </a:lnTo>
                <a:lnTo>
                  <a:pt x="2733" y="304"/>
                </a:lnTo>
                <a:lnTo>
                  <a:pt x="2733" y="239"/>
                </a:lnTo>
                <a:lnTo>
                  <a:pt x="2733" y="239"/>
                </a:lnTo>
                <a:lnTo>
                  <a:pt x="2735" y="155"/>
                </a:lnTo>
                <a:lnTo>
                  <a:pt x="2738" y="112"/>
                </a:lnTo>
                <a:lnTo>
                  <a:pt x="2738" y="112"/>
                </a:lnTo>
                <a:lnTo>
                  <a:pt x="2740" y="101"/>
                </a:lnTo>
                <a:lnTo>
                  <a:pt x="2744" y="91"/>
                </a:lnTo>
                <a:lnTo>
                  <a:pt x="2749" y="84"/>
                </a:lnTo>
                <a:lnTo>
                  <a:pt x="2756" y="79"/>
                </a:lnTo>
                <a:lnTo>
                  <a:pt x="2766" y="73"/>
                </a:lnTo>
                <a:lnTo>
                  <a:pt x="2777" y="70"/>
                </a:lnTo>
                <a:lnTo>
                  <a:pt x="2791" y="66"/>
                </a:lnTo>
                <a:lnTo>
                  <a:pt x="2808" y="66"/>
                </a:lnTo>
                <a:lnTo>
                  <a:pt x="2808" y="44"/>
                </a:lnTo>
                <a:lnTo>
                  <a:pt x="2618" y="44"/>
                </a:lnTo>
                <a:lnTo>
                  <a:pt x="2618" y="66"/>
                </a:lnTo>
                <a:close/>
                <a:moveTo>
                  <a:pt x="3158" y="472"/>
                </a:moveTo>
                <a:lnTo>
                  <a:pt x="3158" y="321"/>
                </a:lnTo>
                <a:lnTo>
                  <a:pt x="3158" y="321"/>
                </a:lnTo>
                <a:lnTo>
                  <a:pt x="3156" y="293"/>
                </a:lnTo>
                <a:lnTo>
                  <a:pt x="3151" y="269"/>
                </a:lnTo>
                <a:lnTo>
                  <a:pt x="3147" y="259"/>
                </a:lnTo>
                <a:lnTo>
                  <a:pt x="3142" y="250"/>
                </a:lnTo>
                <a:lnTo>
                  <a:pt x="3137" y="241"/>
                </a:lnTo>
                <a:lnTo>
                  <a:pt x="3130" y="232"/>
                </a:lnTo>
                <a:lnTo>
                  <a:pt x="3123" y="225"/>
                </a:lnTo>
                <a:lnTo>
                  <a:pt x="3116" y="218"/>
                </a:lnTo>
                <a:lnTo>
                  <a:pt x="3107" y="213"/>
                </a:lnTo>
                <a:lnTo>
                  <a:pt x="3098" y="210"/>
                </a:lnTo>
                <a:lnTo>
                  <a:pt x="3088" y="206"/>
                </a:lnTo>
                <a:lnTo>
                  <a:pt x="3077" y="203"/>
                </a:lnTo>
                <a:lnTo>
                  <a:pt x="3055" y="201"/>
                </a:lnTo>
                <a:lnTo>
                  <a:pt x="3055" y="201"/>
                </a:lnTo>
                <a:lnTo>
                  <a:pt x="3039" y="203"/>
                </a:lnTo>
                <a:lnTo>
                  <a:pt x="3022" y="208"/>
                </a:lnTo>
                <a:lnTo>
                  <a:pt x="3006" y="215"/>
                </a:lnTo>
                <a:lnTo>
                  <a:pt x="2988" y="225"/>
                </a:lnTo>
                <a:lnTo>
                  <a:pt x="2988" y="225"/>
                </a:lnTo>
                <a:lnTo>
                  <a:pt x="2936" y="262"/>
                </a:lnTo>
                <a:lnTo>
                  <a:pt x="2936" y="199"/>
                </a:lnTo>
                <a:lnTo>
                  <a:pt x="2936" y="199"/>
                </a:lnTo>
                <a:lnTo>
                  <a:pt x="2910" y="210"/>
                </a:lnTo>
                <a:lnTo>
                  <a:pt x="2882" y="218"/>
                </a:lnTo>
                <a:lnTo>
                  <a:pt x="2854" y="225"/>
                </a:lnTo>
                <a:lnTo>
                  <a:pt x="2826" y="231"/>
                </a:lnTo>
                <a:lnTo>
                  <a:pt x="2826" y="250"/>
                </a:lnTo>
                <a:lnTo>
                  <a:pt x="2826" y="250"/>
                </a:lnTo>
                <a:lnTo>
                  <a:pt x="2850" y="255"/>
                </a:lnTo>
                <a:lnTo>
                  <a:pt x="2859" y="259"/>
                </a:lnTo>
                <a:lnTo>
                  <a:pt x="2866" y="264"/>
                </a:lnTo>
                <a:lnTo>
                  <a:pt x="2870" y="271"/>
                </a:lnTo>
                <a:lnTo>
                  <a:pt x="2871" y="280"/>
                </a:lnTo>
                <a:lnTo>
                  <a:pt x="2873" y="293"/>
                </a:lnTo>
                <a:lnTo>
                  <a:pt x="2873" y="309"/>
                </a:lnTo>
                <a:lnTo>
                  <a:pt x="2873" y="472"/>
                </a:lnTo>
                <a:lnTo>
                  <a:pt x="2873" y="472"/>
                </a:lnTo>
                <a:lnTo>
                  <a:pt x="2873" y="489"/>
                </a:lnTo>
                <a:lnTo>
                  <a:pt x="2871" y="503"/>
                </a:lnTo>
                <a:lnTo>
                  <a:pt x="2870" y="514"/>
                </a:lnTo>
                <a:lnTo>
                  <a:pt x="2864" y="521"/>
                </a:lnTo>
                <a:lnTo>
                  <a:pt x="2857" y="526"/>
                </a:lnTo>
                <a:lnTo>
                  <a:pt x="2847" y="529"/>
                </a:lnTo>
                <a:lnTo>
                  <a:pt x="2833" y="531"/>
                </a:lnTo>
                <a:lnTo>
                  <a:pt x="2815" y="533"/>
                </a:lnTo>
                <a:lnTo>
                  <a:pt x="2815" y="554"/>
                </a:lnTo>
                <a:lnTo>
                  <a:pt x="2988" y="554"/>
                </a:lnTo>
                <a:lnTo>
                  <a:pt x="2988" y="533"/>
                </a:lnTo>
                <a:lnTo>
                  <a:pt x="2988" y="533"/>
                </a:lnTo>
                <a:lnTo>
                  <a:pt x="2973" y="531"/>
                </a:lnTo>
                <a:lnTo>
                  <a:pt x="2960" y="529"/>
                </a:lnTo>
                <a:lnTo>
                  <a:pt x="2950" y="526"/>
                </a:lnTo>
                <a:lnTo>
                  <a:pt x="2945" y="521"/>
                </a:lnTo>
                <a:lnTo>
                  <a:pt x="2939" y="514"/>
                </a:lnTo>
                <a:lnTo>
                  <a:pt x="2938" y="503"/>
                </a:lnTo>
                <a:lnTo>
                  <a:pt x="2936" y="489"/>
                </a:lnTo>
                <a:lnTo>
                  <a:pt x="2936" y="472"/>
                </a:lnTo>
                <a:lnTo>
                  <a:pt x="2936" y="288"/>
                </a:lnTo>
                <a:lnTo>
                  <a:pt x="2936" y="288"/>
                </a:lnTo>
                <a:lnTo>
                  <a:pt x="2955" y="273"/>
                </a:lnTo>
                <a:lnTo>
                  <a:pt x="2976" y="260"/>
                </a:lnTo>
                <a:lnTo>
                  <a:pt x="2987" y="255"/>
                </a:lnTo>
                <a:lnTo>
                  <a:pt x="2999" y="252"/>
                </a:lnTo>
                <a:lnTo>
                  <a:pt x="3011" y="248"/>
                </a:lnTo>
                <a:lnTo>
                  <a:pt x="3023" y="248"/>
                </a:lnTo>
                <a:lnTo>
                  <a:pt x="3023" y="248"/>
                </a:lnTo>
                <a:lnTo>
                  <a:pt x="3041" y="250"/>
                </a:lnTo>
                <a:lnTo>
                  <a:pt x="3057" y="253"/>
                </a:lnTo>
                <a:lnTo>
                  <a:pt x="3069" y="262"/>
                </a:lnTo>
                <a:lnTo>
                  <a:pt x="3079" y="273"/>
                </a:lnTo>
                <a:lnTo>
                  <a:pt x="3086" y="285"/>
                </a:lnTo>
                <a:lnTo>
                  <a:pt x="3091" y="300"/>
                </a:lnTo>
                <a:lnTo>
                  <a:pt x="3093" y="318"/>
                </a:lnTo>
                <a:lnTo>
                  <a:pt x="3095" y="337"/>
                </a:lnTo>
                <a:lnTo>
                  <a:pt x="3095" y="468"/>
                </a:lnTo>
                <a:lnTo>
                  <a:pt x="3095" y="468"/>
                </a:lnTo>
                <a:lnTo>
                  <a:pt x="3095" y="486"/>
                </a:lnTo>
                <a:lnTo>
                  <a:pt x="3093" y="501"/>
                </a:lnTo>
                <a:lnTo>
                  <a:pt x="3091" y="512"/>
                </a:lnTo>
                <a:lnTo>
                  <a:pt x="3086" y="519"/>
                </a:lnTo>
                <a:lnTo>
                  <a:pt x="3079" y="524"/>
                </a:lnTo>
                <a:lnTo>
                  <a:pt x="3070" y="529"/>
                </a:lnTo>
                <a:lnTo>
                  <a:pt x="3058" y="531"/>
                </a:lnTo>
                <a:lnTo>
                  <a:pt x="3043" y="533"/>
                </a:lnTo>
                <a:lnTo>
                  <a:pt x="3043" y="554"/>
                </a:lnTo>
                <a:lnTo>
                  <a:pt x="3209" y="554"/>
                </a:lnTo>
                <a:lnTo>
                  <a:pt x="3209" y="533"/>
                </a:lnTo>
                <a:lnTo>
                  <a:pt x="3209" y="533"/>
                </a:lnTo>
                <a:lnTo>
                  <a:pt x="3193" y="531"/>
                </a:lnTo>
                <a:lnTo>
                  <a:pt x="3181" y="529"/>
                </a:lnTo>
                <a:lnTo>
                  <a:pt x="3172" y="526"/>
                </a:lnTo>
                <a:lnTo>
                  <a:pt x="3165" y="521"/>
                </a:lnTo>
                <a:lnTo>
                  <a:pt x="3161" y="514"/>
                </a:lnTo>
                <a:lnTo>
                  <a:pt x="3160" y="503"/>
                </a:lnTo>
                <a:lnTo>
                  <a:pt x="3158" y="489"/>
                </a:lnTo>
                <a:lnTo>
                  <a:pt x="3158" y="472"/>
                </a:lnTo>
                <a:lnTo>
                  <a:pt x="3158" y="472"/>
                </a:lnTo>
                <a:close/>
                <a:moveTo>
                  <a:pt x="3336" y="133"/>
                </a:moveTo>
                <a:lnTo>
                  <a:pt x="3336" y="133"/>
                </a:lnTo>
                <a:lnTo>
                  <a:pt x="3345" y="133"/>
                </a:lnTo>
                <a:lnTo>
                  <a:pt x="3354" y="129"/>
                </a:lnTo>
                <a:lnTo>
                  <a:pt x="3361" y="126"/>
                </a:lnTo>
                <a:lnTo>
                  <a:pt x="3366" y="121"/>
                </a:lnTo>
                <a:lnTo>
                  <a:pt x="3371" y="115"/>
                </a:lnTo>
                <a:lnTo>
                  <a:pt x="3375" y="108"/>
                </a:lnTo>
                <a:lnTo>
                  <a:pt x="3376" y="101"/>
                </a:lnTo>
                <a:lnTo>
                  <a:pt x="3378" y="93"/>
                </a:lnTo>
                <a:lnTo>
                  <a:pt x="3378" y="93"/>
                </a:lnTo>
                <a:lnTo>
                  <a:pt x="3376" y="84"/>
                </a:lnTo>
                <a:lnTo>
                  <a:pt x="3375" y="77"/>
                </a:lnTo>
                <a:lnTo>
                  <a:pt x="3371" y="70"/>
                </a:lnTo>
                <a:lnTo>
                  <a:pt x="3366" y="65"/>
                </a:lnTo>
                <a:lnTo>
                  <a:pt x="3361" y="59"/>
                </a:lnTo>
                <a:lnTo>
                  <a:pt x="3354" y="56"/>
                </a:lnTo>
                <a:lnTo>
                  <a:pt x="3345" y="52"/>
                </a:lnTo>
                <a:lnTo>
                  <a:pt x="3338" y="52"/>
                </a:lnTo>
                <a:lnTo>
                  <a:pt x="3338" y="52"/>
                </a:lnTo>
                <a:lnTo>
                  <a:pt x="3329" y="52"/>
                </a:lnTo>
                <a:lnTo>
                  <a:pt x="3322" y="56"/>
                </a:lnTo>
                <a:lnTo>
                  <a:pt x="3315" y="59"/>
                </a:lnTo>
                <a:lnTo>
                  <a:pt x="3310" y="65"/>
                </a:lnTo>
                <a:lnTo>
                  <a:pt x="3305" y="70"/>
                </a:lnTo>
                <a:lnTo>
                  <a:pt x="3301" y="77"/>
                </a:lnTo>
                <a:lnTo>
                  <a:pt x="3298" y="84"/>
                </a:lnTo>
                <a:lnTo>
                  <a:pt x="3298" y="93"/>
                </a:lnTo>
                <a:lnTo>
                  <a:pt x="3298" y="93"/>
                </a:lnTo>
                <a:lnTo>
                  <a:pt x="3298" y="101"/>
                </a:lnTo>
                <a:lnTo>
                  <a:pt x="3301" y="108"/>
                </a:lnTo>
                <a:lnTo>
                  <a:pt x="3305" y="115"/>
                </a:lnTo>
                <a:lnTo>
                  <a:pt x="3310" y="121"/>
                </a:lnTo>
                <a:lnTo>
                  <a:pt x="3315" y="126"/>
                </a:lnTo>
                <a:lnTo>
                  <a:pt x="3322" y="129"/>
                </a:lnTo>
                <a:lnTo>
                  <a:pt x="3329" y="133"/>
                </a:lnTo>
                <a:lnTo>
                  <a:pt x="3336" y="133"/>
                </a:lnTo>
                <a:lnTo>
                  <a:pt x="3336" y="133"/>
                </a:lnTo>
                <a:close/>
                <a:moveTo>
                  <a:pt x="3373" y="470"/>
                </a:moveTo>
                <a:lnTo>
                  <a:pt x="3373" y="199"/>
                </a:lnTo>
                <a:lnTo>
                  <a:pt x="3373" y="199"/>
                </a:lnTo>
                <a:lnTo>
                  <a:pt x="3347" y="210"/>
                </a:lnTo>
                <a:lnTo>
                  <a:pt x="3319" y="218"/>
                </a:lnTo>
                <a:lnTo>
                  <a:pt x="3291" y="225"/>
                </a:lnTo>
                <a:lnTo>
                  <a:pt x="3261" y="231"/>
                </a:lnTo>
                <a:lnTo>
                  <a:pt x="3261" y="250"/>
                </a:lnTo>
                <a:lnTo>
                  <a:pt x="3261" y="250"/>
                </a:lnTo>
                <a:lnTo>
                  <a:pt x="3277" y="252"/>
                </a:lnTo>
                <a:lnTo>
                  <a:pt x="3289" y="255"/>
                </a:lnTo>
                <a:lnTo>
                  <a:pt x="3298" y="259"/>
                </a:lnTo>
                <a:lnTo>
                  <a:pt x="3303" y="264"/>
                </a:lnTo>
                <a:lnTo>
                  <a:pt x="3306" y="271"/>
                </a:lnTo>
                <a:lnTo>
                  <a:pt x="3310" y="280"/>
                </a:lnTo>
                <a:lnTo>
                  <a:pt x="3310" y="307"/>
                </a:lnTo>
                <a:lnTo>
                  <a:pt x="3310" y="470"/>
                </a:lnTo>
                <a:lnTo>
                  <a:pt x="3310" y="470"/>
                </a:lnTo>
                <a:lnTo>
                  <a:pt x="3310" y="489"/>
                </a:lnTo>
                <a:lnTo>
                  <a:pt x="3308" y="503"/>
                </a:lnTo>
                <a:lnTo>
                  <a:pt x="3306" y="512"/>
                </a:lnTo>
                <a:lnTo>
                  <a:pt x="3301" y="521"/>
                </a:lnTo>
                <a:lnTo>
                  <a:pt x="3294" y="526"/>
                </a:lnTo>
                <a:lnTo>
                  <a:pt x="3285" y="529"/>
                </a:lnTo>
                <a:lnTo>
                  <a:pt x="3271" y="531"/>
                </a:lnTo>
                <a:lnTo>
                  <a:pt x="3256" y="533"/>
                </a:lnTo>
                <a:lnTo>
                  <a:pt x="3256" y="554"/>
                </a:lnTo>
                <a:lnTo>
                  <a:pt x="3430" y="554"/>
                </a:lnTo>
                <a:lnTo>
                  <a:pt x="3430" y="533"/>
                </a:lnTo>
                <a:lnTo>
                  <a:pt x="3430" y="533"/>
                </a:lnTo>
                <a:lnTo>
                  <a:pt x="3413" y="531"/>
                </a:lnTo>
                <a:lnTo>
                  <a:pt x="3399" y="529"/>
                </a:lnTo>
                <a:lnTo>
                  <a:pt x="3390" y="526"/>
                </a:lnTo>
                <a:lnTo>
                  <a:pt x="3383" y="521"/>
                </a:lnTo>
                <a:lnTo>
                  <a:pt x="3378" y="512"/>
                </a:lnTo>
                <a:lnTo>
                  <a:pt x="3375" y="503"/>
                </a:lnTo>
                <a:lnTo>
                  <a:pt x="3375" y="489"/>
                </a:lnTo>
                <a:lnTo>
                  <a:pt x="3373" y="470"/>
                </a:lnTo>
                <a:lnTo>
                  <a:pt x="3373" y="470"/>
                </a:lnTo>
                <a:close/>
                <a:moveTo>
                  <a:pt x="3677" y="231"/>
                </a:moveTo>
                <a:lnTo>
                  <a:pt x="3677" y="231"/>
                </a:lnTo>
                <a:lnTo>
                  <a:pt x="3693" y="232"/>
                </a:lnTo>
                <a:lnTo>
                  <a:pt x="3703" y="236"/>
                </a:lnTo>
                <a:lnTo>
                  <a:pt x="3712" y="239"/>
                </a:lnTo>
                <a:lnTo>
                  <a:pt x="3717" y="245"/>
                </a:lnTo>
                <a:lnTo>
                  <a:pt x="3721" y="252"/>
                </a:lnTo>
                <a:lnTo>
                  <a:pt x="3721" y="259"/>
                </a:lnTo>
                <a:lnTo>
                  <a:pt x="3719" y="269"/>
                </a:lnTo>
                <a:lnTo>
                  <a:pt x="3715" y="283"/>
                </a:lnTo>
                <a:lnTo>
                  <a:pt x="3715" y="283"/>
                </a:lnTo>
                <a:lnTo>
                  <a:pt x="3684" y="370"/>
                </a:lnTo>
                <a:lnTo>
                  <a:pt x="3665" y="421"/>
                </a:lnTo>
                <a:lnTo>
                  <a:pt x="3645" y="470"/>
                </a:lnTo>
                <a:lnTo>
                  <a:pt x="3645" y="470"/>
                </a:lnTo>
                <a:lnTo>
                  <a:pt x="3605" y="372"/>
                </a:lnTo>
                <a:lnTo>
                  <a:pt x="3569" y="276"/>
                </a:lnTo>
                <a:lnTo>
                  <a:pt x="3569" y="276"/>
                </a:lnTo>
                <a:lnTo>
                  <a:pt x="3563" y="255"/>
                </a:lnTo>
                <a:lnTo>
                  <a:pt x="3562" y="248"/>
                </a:lnTo>
                <a:lnTo>
                  <a:pt x="3563" y="243"/>
                </a:lnTo>
                <a:lnTo>
                  <a:pt x="3569" y="238"/>
                </a:lnTo>
                <a:lnTo>
                  <a:pt x="3576" y="236"/>
                </a:lnTo>
                <a:lnTo>
                  <a:pt x="3586" y="232"/>
                </a:lnTo>
                <a:lnTo>
                  <a:pt x="3602" y="231"/>
                </a:lnTo>
                <a:lnTo>
                  <a:pt x="3602" y="211"/>
                </a:lnTo>
                <a:lnTo>
                  <a:pt x="3437" y="211"/>
                </a:lnTo>
                <a:lnTo>
                  <a:pt x="3437" y="231"/>
                </a:lnTo>
                <a:lnTo>
                  <a:pt x="3437" y="231"/>
                </a:lnTo>
                <a:lnTo>
                  <a:pt x="3451" y="232"/>
                </a:lnTo>
                <a:lnTo>
                  <a:pt x="3464" y="236"/>
                </a:lnTo>
                <a:lnTo>
                  <a:pt x="3472" y="239"/>
                </a:lnTo>
                <a:lnTo>
                  <a:pt x="3481" y="245"/>
                </a:lnTo>
                <a:lnTo>
                  <a:pt x="3488" y="252"/>
                </a:lnTo>
                <a:lnTo>
                  <a:pt x="3493" y="260"/>
                </a:lnTo>
                <a:lnTo>
                  <a:pt x="3506" y="288"/>
                </a:lnTo>
                <a:lnTo>
                  <a:pt x="3506" y="288"/>
                </a:lnTo>
                <a:lnTo>
                  <a:pt x="3562" y="425"/>
                </a:lnTo>
                <a:lnTo>
                  <a:pt x="3616" y="563"/>
                </a:lnTo>
                <a:lnTo>
                  <a:pt x="3637" y="563"/>
                </a:lnTo>
                <a:lnTo>
                  <a:pt x="3637" y="563"/>
                </a:lnTo>
                <a:lnTo>
                  <a:pt x="3668" y="479"/>
                </a:lnTo>
                <a:lnTo>
                  <a:pt x="3700" y="405"/>
                </a:lnTo>
                <a:lnTo>
                  <a:pt x="3749" y="290"/>
                </a:lnTo>
                <a:lnTo>
                  <a:pt x="3749" y="290"/>
                </a:lnTo>
                <a:lnTo>
                  <a:pt x="3763" y="262"/>
                </a:lnTo>
                <a:lnTo>
                  <a:pt x="3770" y="252"/>
                </a:lnTo>
                <a:lnTo>
                  <a:pt x="3777" y="245"/>
                </a:lnTo>
                <a:lnTo>
                  <a:pt x="3783" y="239"/>
                </a:lnTo>
                <a:lnTo>
                  <a:pt x="3794" y="236"/>
                </a:lnTo>
                <a:lnTo>
                  <a:pt x="3804" y="232"/>
                </a:lnTo>
                <a:lnTo>
                  <a:pt x="3818" y="231"/>
                </a:lnTo>
                <a:lnTo>
                  <a:pt x="3818" y="211"/>
                </a:lnTo>
                <a:lnTo>
                  <a:pt x="3677" y="211"/>
                </a:lnTo>
                <a:lnTo>
                  <a:pt x="3677" y="231"/>
                </a:lnTo>
                <a:close/>
                <a:moveTo>
                  <a:pt x="4123" y="321"/>
                </a:moveTo>
                <a:lnTo>
                  <a:pt x="4123" y="321"/>
                </a:lnTo>
                <a:lnTo>
                  <a:pt x="4121" y="309"/>
                </a:lnTo>
                <a:lnTo>
                  <a:pt x="4119" y="299"/>
                </a:lnTo>
                <a:lnTo>
                  <a:pt x="4117" y="286"/>
                </a:lnTo>
                <a:lnTo>
                  <a:pt x="4112" y="276"/>
                </a:lnTo>
                <a:lnTo>
                  <a:pt x="4107" y="266"/>
                </a:lnTo>
                <a:lnTo>
                  <a:pt x="4102" y="257"/>
                </a:lnTo>
                <a:lnTo>
                  <a:pt x="4095" y="246"/>
                </a:lnTo>
                <a:lnTo>
                  <a:pt x="4088" y="238"/>
                </a:lnTo>
                <a:lnTo>
                  <a:pt x="4079" y="231"/>
                </a:lnTo>
                <a:lnTo>
                  <a:pt x="4070" y="224"/>
                </a:lnTo>
                <a:lnTo>
                  <a:pt x="4060" y="217"/>
                </a:lnTo>
                <a:lnTo>
                  <a:pt x="4049" y="211"/>
                </a:lnTo>
                <a:lnTo>
                  <a:pt x="4039" y="208"/>
                </a:lnTo>
                <a:lnTo>
                  <a:pt x="4026" y="204"/>
                </a:lnTo>
                <a:lnTo>
                  <a:pt x="4014" y="203"/>
                </a:lnTo>
                <a:lnTo>
                  <a:pt x="4002" y="201"/>
                </a:lnTo>
                <a:lnTo>
                  <a:pt x="4002" y="201"/>
                </a:lnTo>
                <a:lnTo>
                  <a:pt x="4002" y="201"/>
                </a:lnTo>
                <a:lnTo>
                  <a:pt x="3986" y="203"/>
                </a:lnTo>
                <a:lnTo>
                  <a:pt x="3970" y="206"/>
                </a:lnTo>
                <a:lnTo>
                  <a:pt x="3957" y="210"/>
                </a:lnTo>
                <a:lnTo>
                  <a:pt x="3941" y="217"/>
                </a:lnTo>
                <a:lnTo>
                  <a:pt x="3927" y="225"/>
                </a:lnTo>
                <a:lnTo>
                  <a:pt x="3913" y="234"/>
                </a:lnTo>
                <a:lnTo>
                  <a:pt x="3899" y="246"/>
                </a:lnTo>
                <a:lnTo>
                  <a:pt x="3887" y="259"/>
                </a:lnTo>
                <a:lnTo>
                  <a:pt x="3887" y="259"/>
                </a:lnTo>
                <a:lnTo>
                  <a:pt x="3874" y="273"/>
                </a:lnTo>
                <a:lnTo>
                  <a:pt x="3864" y="288"/>
                </a:lnTo>
                <a:lnTo>
                  <a:pt x="3855" y="304"/>
                </a:lnTo>
                <a:lnTo>
                  <a:pt x="3848" y="320"/>
                </a:lnTo>
                <a:lnTo>
                  <a:pt x="3841" y="339"/>
                </a:lnTo>
                <a:lnTo>
                  <a:pt x="3838" y="356"/>
                </a:lnTo>
                <a:lnTo>
                  <a:pt x="3834" y="376"/>
                </a:lnTo>
                <a:lnTo>
                  <a:pt x="3832" y="397"/>
                </a:lnTo>
                <a:lnTo>
                  <a:pt x="3832" y="397"/>
                </a:lnTo>
                <a:lnTo>
                  <a:pt x="3834" y="412"/>
                </a:lnTo>
                <a:lnTo>
                  <a:pt x="3836" y="428"/>
                </a:lnTo>
                <a:lnTo>
                  <a:pt x="3839" y="444"/>
                </a:lnTo>
                <a:lnTo>
                  <a:pt x="3843" y="459"/>
                </a:lnTo>
                <a:lnTo>
                  <a:pt x="3850" y="473"/>
                </a:lnTo>
                <a:lnTo>
                  <a:pt x="3857" y="487"/>
                </a:lnTo>
                <a:lnTo>
                  <a:pt x="3864" y="501"/>
                </a:lnTo>
                <a:lnTo>
                  <a:pt x="3874" y="514"/>
                </a:lnTo>
                <a:lnTo>
                  <a:pt x="3885" y="524"/>
                </a:lnTo>
                <a:lnTo>
                  <a:pt x="3897" y="535"/>
                </a:lnTo>
                <a:lnTo>
                  <a:pt x="3909" y="542"/>
                </a:lnTo>
                <a:lnTo>
                  <a:pt x="3923" y="550"/>
                </a:lnTo>
                <a:lnTo>
                  <a:pt x="3937" y="556"/>
                </a:lnTo>
                <a:lnTo>
                  <a:pt x="3953" y="559"/>
                </a:lnTo>
                <a:lnTo>
                  <a:pt x="3970" y="563"/>
                </a:lnTo>
                <a:lnTo>
                  <a:pt x="3988" y="563"/>
                </a:lnTo>
                <a:lnTo>
                  <a:pt x="3988" y="563"/>
                </a:lnTo>
                <a:lnTo>
                  <a:pt x="3998" y="563"/>
                </a:lnTo>
                <a:lnTo>
                  <a:pt x="4012" y="561"/>
                </a:lnTo>
                <a:lnTo>
                  <a:pt x="4026" y="556"/>
                </a:lnTo>
                <a:lnTo>
                  <a:pt x="4044" y="549"/>
                </a:lnTo>
                <a:lnTo>
                  <a:pt x="4061" y="538"/>
                </a:lnTo>
                <a:lnTo>
                  <a:pt x="4081" y="526"/>
                </a:lnTo>
                <a:lnTo>
                  <a:pt x="4100" y="508"/>
                </a:lnTo>
                <a:lnTo>
                  <a:pt x="4117" y="487"/>
                </a:lnTo>
                <a:lnTo>
                  <a:pt x="4105" y="470"/>
                </a:lnTo>
                <a:lnTo>
                  <a:pt x="4105" y="470"/>
                </a:lnTo>
                <a:lnTo>
                  <a:pt x="4095" y="480"/>
                </a:lnTo>
                <a:lnTo>
                  <a:pt x="4084" y="487"/>
                </a:lnTo>
                <a:lnTo>
                  <a:pt x="4072" y="494"/>
                </a:lnTo>
                <a:lnTo>
                  <a:pt x="4061" y="500"/>
                </a:lnTo>
                <a:lnTo>
                  <a:pt x="4049" y="505"/>
                </a:lnTo>
                <a:lnTo>
                  <a:pt x="4039" y="507"/>
                </a:lnTo>
                <a:lnTo>
                  <a:pt x="4026" y="508"/>
                </a:lnTo>
                <a:lnTo>
                  <a:pt x="4014" y="510"/>
                </a:lnTo>
                <a:lnTo>
                  <a:pt x="4014" y="510"/>
                </a:lnTo>
                <a:lnTo>
                  <a:pt x="4004" y="510"/>
                </a:lnTo>
                <a:lnTo>
                  <a:pt x="3993" y="508"/>
                </a:lnTo>
                <a:lnTo>
                  <a:pt x="3983" y="505"/>
                </a:lnTo>
                <a:lnTo>
                  <a:pt x="3972" y="501"/>
                </a:lnTo>
                <a:lnTo>
                  <a:pt x="3962" y="496"/>
                </a:lnTo>
                <a:lnTo>
                  <a:pt x="3953" y="491"/>
                </a:lnTo>
                <a:lnTo>
                  <a:pt x="3944" y="482"/>
                </a:lnTo>
                <a:lnTo>
                  <a:pt x="3936" y="475"/>
                </a:lnTo>
                <a:lnTo>
                  <a:pt x="3927" y="465"/>
                </a:lnTo>
                <a:lnTo>
                  <a:pt x="3920" y="454"/>
                </a:lnTo>
                <a:lnTo>
                  <a:pt x="3913" y="442"/>
                </a:lnTo>
                <a:lnTo>
                  <a:pt x="3908" y="428"/>
                </a:lnTo>
                <a:lnTo>
                  <a:pt x="3902" y="412"/>
                </a:lnTo>
                <a:lnTo>
                  <a:pt x="3899" y="397"/>
                </a:lnTo>
                <a:lnTo>
                  <a:pt x="3897" y="379"/>
                </a:lnTo>
                <a:lnTo>
                  <a:pt x="3895" y="360"/>
                </a:lnTo>
                <a:lnTo>
                  <a:pt x="3895" y="360"/>
                </a:lnTo>
                <a:lnTo>
                  <a:pt x="3967" y="356"/>
                </a:lnTo>
                <a:lnTo>
                  <a:pt x="4030" y="353"/>
                </a:lnTo>
                <a:lnTo>
                  <a:pt x="4103" y="346"/>
                </a:lnTo>
                <a:lnTo>
                  <a:pt x="4103" y="346"/>
                </a:lnTo>
                <a:lnTo>
                  <a:pt x="4112" y="342"/>
                </a:lnTo>
                <a:lnTo>
                  <a:pt x="4119" y="337"/>
                </a:lnTo>
                <a:lnTo>
                  <a:pt x="4121" y="330"/>
                </a:lnTo>
                <a:lnTo>
                  <a:pt x="4123" y="321"/>
                </a:lnTo>
                <a:lnTo>
                  <a:pt x="4123" y="321"/>
                </a:lnTo>
                <a:close/>
                <a:moveTo>
                  <a:pt x="4035" y="325"/>
                </a:moveTo>
                <a:lnTo>
                  <a:pt x="4035" y="325"/>
                </a:lnTo>
                <a:lnTo>
                  <a:pt x="3967" y="327"/>
                </a:lnTo>
                <a:lnTo>
                  <a:pt x="3901" y="327"/>
                </a:lnTo>
                <a:lnTo>
                  <a:pt x="3901" y="327"/>
                </a:lnTo>
                <a:lnTo>
                  <a:pt x="3906" y="304"/>
                </a:lnTo>
                <a:lnTo>
                  <a:pt x="3913" y="285"/>
                </a:lnTo>
                <a:lnTo>
                  <a:pt x="3922" y="269"/>
                </a:lnTo>
                <a:lnTo>
                  <a:pt x="3932" y="255"/>
                </a:lnTo>
                <a:lnTo>
                  <a:pt x="3944" y="245"/>
                </a:lnTo>
                <a:lnTo>
                  <a:pt x="3957" y="236"/>
                </a:lnTo>
                <a:lnTo>
                  <a:pt x="3969" y="232"/>
                </a:lnTo>
                <a:lnTo>
                  <a:pt x="3983" y="231"/>
                </a:lnTo>
                <a:lnTo>
                  <a:pt x="3984" y="231"/>
                </a:lnTo>
                <a:lnTo>
                  <a:pt x="3984" y="231"/>
                </a:lnTo>
                <a:lnTo>
                  <a:pt x="3998" y="232"/>
                </a:lnTo>
                <a:lnTo>
                  <a:pt x="4012" y="238"/>
                </a:lnTo>
                <a:lnTo>
                  <a:pt x="4025" y="245"/>
                </a:lnTo>
                <a:lnTo>
                  <a:pt x="4035" y="255"/>
                </a:lnTo>
                <a:lnTo>
                  <a:pt x="4044" y="266"/>
                </a:lnTo>
                <a:lnTo>
                  <a:pt x="4049" y="280"/>
                </a:lnTo>
                <a:lnTo>
                  <a:pt x="4053" y="293"/>
                </a:lnTo>
                <a:lnTo>
                  <a:pt x="4054" y="309"/>
                </a:lnTo>
                <a:lnTo>
                  <a:pt x="4054" y="309"/>
                </a:lnTo>
                <a:lnTo>
                  <a:pt x="4053" y="316"/>
                </a:lnTo>
                <a:lnTo>
                  <a:pt x="4049" y="321"/>
                </a:lnTo>
                <a:lnTo>
                  <a:pt x="4044" y="323"/>
                </a:lnTo>
                <a:lnTo>
                  <a:pt x="4035" y="325"/>
                </a:lnTo>
                <a:lnTo>
                  <a:pt x="4035" y="325"/>
                </a:lnTo>
                <a:close/>
                <a:moveTo>
                  <a:pt x="4386" y="201"/>
                </a:moveTo>
                <a:lnTo>
                  <a:pt x="4386" y="201"/>
                </a:lnTo>
                <a:lnTo>
                  <a:pt x="4372" y="203"/>
                </a:lnTo>
                <a:lnTo>
                  <a:pt x="4358" y="210"/>
                </a:lnTo>
                <a:lnTo>
                  <a:pt x="4344" y="217"/>
                </a:lnTo>
                <a:lnTo>
                  <a:pt x="4332" y="229"/>
                </a:lnTo>
                <a:lnTo>
                  <a:pt x="4320" y="241"/>
                </a:lnTo>
                <a:lnTo>
                  <a:pt x="4310" y="255"/>
                </a:lnTo>
                <a:lnTo>
                  <a:pt x="4290" y="285"/>
                </a:lnTo>
                <a:lnTo>
                  <a:pt x="4289" y="285"/>
                </a:lnTo>
                <a:lnTo>
                  <a:pt x="4289" y="199"/>
                </a:lnTo>
                <a:lnTo>
                  <a:pt x="4289" y="199"/>
                </a:lnTo>
                <a:lnTo>
                  <a:pt x="4261" y="210"/>
                </a:lnTo>
                <a:lnTo>
                  <a:pt x="4233" y="218"/>
                </a:lnTo>
                <a:lnTo>
                  <a:pt x="4205" y="225"/>
                </a:lnTo>
                <a:lnTo>
                  <a:pt x="4177" y="231"/>
                </a:lnTo>
                <a:lnTo>
                  <a:pt x="4177" y="248"/>
                </a:lnTo>
                <a:lnTo>
                  <a:pt x="4177" y="248"/>
                </a:lnTo>
                <a:lnTo>
                  <a:pt x="4191" y="252"/>
                </a:lnTo>
                <a:lnTo>
                  <a:pt x="4203" y="253"/>
                </a:lnTo>
                <a:lnTo>
                  <a:pt x="4212" y="257"/>
                </a:lnTo>
                <a:lnTo>
                  <a:pt x="4217" y="262"/>
                </a:lnTo>
                <a:lnTo>
                  <a:pt x="4222" y="269"/>
                </a:lnTo>
                <a:lnTo>
                  <a:pt x="4224" y="280"/>
                </a:lnTo>
                <a:lnTo>
                  <a:pt x="4226" y="292"/>
                </a:lnTo>
                <a:lnTo>
                  <a:pt x="4226" y="309"/>
                </a:lnTo>
                <a:lnTo>
                  <a:pt x="4226" y="472"/>
                </a:lnTo>
                <a:lnTo>
                  <a:pt x="4226" y="472"/>
                </a:lnTo>
                <a:lnTo>
                  <a:pt x="4226" y="489"/>
                </a:lnTo>
                <a:lnTo>
                  <a:pt x="4224" y="503"/>
                </a:lnTo>
                <a:lnTo>
                  <a:pt x="4220" y="514"/>
                </a:lnTo>
                <a:lnTo>
                  <a:pt x="4217" y="521"/>
                </a:lnTo>
                <a:lnTo>
                  <a:pt x="4210" y="526"/>
                </a:lnTo>
                <a:lnTo>
                  <a:pt x="4199" y="529"/>
                </a:lnTo>
                <a:lnTo>
                  <a:pt x="4187" y="531"/>
                </a:lnTo>
                <a:lnTo>
                  <a:pt x="4170" y="533"/>
                </a:lnTo>
                <a:lnTo>
                  <a:pt x="4170" y="554"/>
                </a:lnTo>
                <a:lnTo>
                  <a:pt x="4353" y="554"/>
                </a:lnTo>
                <a:lnTo>
                  <a:pt x="4353" y="533"/>
                </a:lnTo>
                <a:lnTo>
                  <a:pt x="4353" y="533"/>
                </a:lnTo>
                <a:lnTo>
                  <a:pt x="4332" y="531"/>
                </a:lnTo>
                <a:lnTo>
                  <a:pt x="4318" y="529"/>
                </a:lnTo>
                <a:lnTo>
                  <a:pt x="4306" y="526"/>
                </a:lnTo>
                <a:lnTo>
                  <a:pt x="4297" y="521"/>
                </a:lnTo>
                <a:lnTo>
                  <a:pt x="4292" y="514"/>
                </a:lnTo>
                <a:lnTo>
                  <a:pt x="4290" y="503"/>
                </a:lnTo>
                <a:lnTo>
                  <a:pt x="4289" y="489"/>
                </a:lnTo>
                <a:lnTo>
                  <a:pt x="4289" y="472"/>
                </a:lnTo>
                <a:lnTo>
                  <a:pt x="4289" y="328"/>
                </a:lnTo>
                <a:lnTo>
                  <a:pt x="4289" y="328"/>
                </a:lnTo>
                <a:lnTo>
                  <a:pt x="4296" y="313"/>
                </a:lnTo>
                <a:lnTo>
                  <a:pt x="4303" y="299"/>
                </a:lnTo>
                <a:lnTo>
                  <a:pt x="4311" y="288"/>
                </a:lnTo>
                <a:lnTo>
                  <a:pt x="4318" y="278"/>
                </a:lnTo>
                <a:lnTo>
                  <a:pt x="4327" y="271"/>
                </a:lnTo>
                <a:lnTo>
                  <a:pt x="4336" y="266"/>
                </a:lnTo>
                <a:lnTo>
                  <a:pt x="4344" y="262"/>
                </a:lnTo>
                <a:lnTo>
                  <a:pt x="4351" y="260"/>
                </a:lnTo>
                <a:lnTo>
                  <a:pt x="4351" y="260"/>
                </a:lnTo>
                <a:lnTo>
                  <a:pt x="4360" y="262"/>
                </a:lnTo>
                <a:lnTo>
                  <a:pt x="4369" y="266"/>
                </a:lnTo>
                <a:lnTo>
                  <a:pt x="4378" y="271"/>
                </a:lnTo>
                <a:lnTo>
                  <a:pt x="4385" y="278"/>
                </a:lnTo>
                <a:lnTo>
                  <a:pt x="4385" y="278"/>
                </a:lnTo>
                <a:lnTo>
                  <a:pt x="4390" y="280"/>
                </a:lnTo>
                <a:lnTo>
                  <a:pt x="4393" y="281"/>
                </a:lnTo>
                <a:lnTo>
                  <a:pt x="4400" y="281"/>
                </a:lnTo>
                <a:lnTo>
                  <a:pt x="4407" y="280"/>
                </a:lnTo>
                <a:lnTo>
                  <a:pt x="4407" y="280"/>
                </a:lnTo>
                <a:lnTo>
                  <a:pt x="4418" y="273"/>
                </a:lnTo>
                <a:lnTo>
                  <a:pt x="4425" y="264"/>
                </a:lnTo>
                <a:lnTo>
                  <a:pt x="4430" y="252"/>
                </a:lnTo>
                <a:lnTo>
                  <a:pt x="4432" y="241"/>
                </a:lnTo>
                <a:lnTo>
                  <a:pt x="4432" y="241"/>
                </a:lnTo>
                <a:lnTo>
                  <a:pt x="4432" y="234"/>
                </a:lnTo>
                <a:lnTo>
                  <a:pt x="4428" y="227"/>
                </a:lnTo>
                <a:lnTo>
                  <a:pt x="4425" y="220"/>
                </a:lnTo>
                <a:lnTo>
                  <a:pt x="4420" y="213"/>
                </a:lnTo>
                <a:lnTo>
                  <a:pt x="4413" y="210"/>
                </a:lnTo>
                <a:lnTo>
                  <a:pt x="4404" y="204"/>
                </a:lnTo>
                <a:lnTo>
                  <a:pt x="4395" y="203"/>
                </a:lnTo>
                <a:lnTo>
                  <a:pt x="4386" y="201"/>
                </a:lnTo>
                <a:lnTo>
                  <a:pt x="4386" y="201"/>
                </a:lnTo>
                <a:close/>
                <a:moveTo>
                  <a:pt x="4605" y="348"/>
                </a:moveTo>
                <a:lnTo>
                  <a:pt x="4605" y="348"/>
                </a:lnTo>
                <a:lnTo>
                  <a:pt x="4579" y="335"/>
                </a:lnTo>
                <a:lnTo>
                  <a:pt x="4568" y="328"/>
                </a:lnTo>
                <a:lnTo>
                  <a:pt x="4558" y="321"/>
                </a:lnTo>
                <a:lnTo>
                  <a:pt x="4549" y="313"/>
                </a:lnTo>
                <a:lnTo>
                  <a:pt x="4542" y="302"/>
                </a:lnTo>
                <a:lnTo>
                  <a:pt x="4538" y="292"/>
                </a:lnTo>
                <a:lnTo>
                  <a:pt x="4537" y="280"/>
                </a:lnTo>
                <a:lnTo>
                  <a:pt x="4537" y="280"/>
                </a:lnTo>
                <a:lnTo>
                  <a:pt x="4538" y="269"/>
                </a:lnTo>
                <a:lnTo>
                  <a:pt x="4540" y="259"/>
                </a:lnTo>
                <a:lnTo>
                  <a:pt x="4545" y="250"/>
                </a:lnTo>
                <a:lnTo>
                  <a:pt x="4552" y="241"/>
                </a:lnTo>
                <a:lnTo>
                  <a:pt x="4559" y="234"/>
                </a:lnTo>
                <a:lnTo>
                  <a:pt x="4568" y="231"/>
                </a:lnTo>
                <a:lnTo>
                  <a:pt x="4579" y="227"/>
                </a:lnTo>
                <a:lnTo>
                  <a:pt x="4589" y="225"/>
                </a:lnTo>
                <a:lnTo>
                  <a:pt x="4589" y="225"/>
                </a:lnTo>
                <a:lnTo>
                  <a:pt x="4603" y="227"/>
                </a:lnTo>
                <a:lnTo>
                  <a:pt x="4615" y="231"/>
                </a:lnTo>
                <a:lnTo>
                  <a:pt x="4628" y="238"/>
                </a:lnTo>
                <a:lnTo>
                  <a:pt x="4638" y="246"/>
                </a:lnTo>
                <a:lnTo>
                  <a:pt x="4649" y="259"/>
                </a:lnTo>
                <a:lnTo>
                  <a:pt x="4657" y="273"/>
                </a:lnTo>
                <a:lnTo>
                  <a:pt x="4664" y="286"/>
                </a:lnTo>
                <a:lnTo>
                  <a:pt x="4671" y="304"/>
                </a:lnTo>
                <a:lnTo>
                  <a:pt x="4692" y="299"/>
                </a:lnTo>
                <a:lnTo>
                  <a:pt x="4692" y="299"/>
                </a:lnTo>
                <a:lnTo>
                  <a:pt x="4683" y="257"/>
                </a:lnTo>
                <a:lnTo>
                  <a:pt x="4678" y="232"/>
                </a:lnTo>
                <a:lnTo>
                  <a:pt x="4675" y="215"/>
                </a:lnTo>
                <a:lnTo>
                  <a:pt x="4675" y="215"/>
                </a:lnTo>
                <a:lnTo>
                  <a:pt x="4661" y="210"/>
                </a:lnTo>
                <a:lnTo>
                  <a:pt x="4645" y="206"/>
                </a:lnTo>
                <a:lnTo>
                  <a:pt x="4626" y="203"/>
                </a:lnTo>
                <a:lnTo>
                  <a:pt x="4603" y="201"/>
                </a:lnTo>
                <a:lnTo>
                  <a:pt x="4603" y="201"/>
                </a:lnTo>
                <a:lnTo>
                  <a:pt x="4589" y="203"/>
                </a:lnTo>
                <a:lnTo>
                  <a:pt x="4577" y="203"/>
                </a:lnTo>
                <a:lnTo>
                  <a:pt x="4565" y="206"/>
                </a:lnTo>
                <a:lnTo>
                  <a:pt x="4554" y="210"/>
                </a:lnTo>
                <a:lnTo>
                  <a:pt x="4542" y="213"/>
                </a:lnTo>
                <a:lnTo>
                  <a:pt x="4533" y="218"/>
                </a:lnTo>
                <a:lnTo>
                  <a:pt x="4524" y="225"/>
                </a:lnTo>
                <a:lnTo>
                  <a:pt x="4516" y="231"/>
                </a:lnTo>
                <a:lnTo>
                  <a:pt x="4507" y="239"/>
                </a:lnTo>
                <a:lnTo>
                  <a:pt x="4502" y="246"/>
                </a:lnTo>
                <a:lnTo>
                  <a:pt x="4495" y="255"/>
                </a:lnTo>
                <a:lnTo>
                  <a:pt x="4491" y="264"/>
                </a:lnTo>
                <a:lnTo>
                  <a:pt x="4488" y="273"/>
                </a:lnTo>
                <a:lnTo>
                  <a:pt x="4484" y="283"/>
                </a:lnTo>
                <a:lnTo>
                  <a:pt x="4483" y="292"/>
                </a:lnTo>
                <a:lnTo>
                  <a:pt x="4483" y="302"/>
                </a:lnTo>
                <a:lnTo>
                  <a:pt x="4483" y="302"/>
                </a:lnTo>
                <a:lnTo>
                  <a:pt x="4483" y="313"/>
                </a:lnTo>
                <a:lnTo>
                  <a:pt x="4484" y="323"/>
                </a:lnTo>
                <a:lnTo>
                  <a:pt x="4488" y="334"/>
                </a:lnTo>
                <a:lnTo>
                  <a:pt x="4491" y="342"/>
                </a:lnTo>
                <a:lnTo>
                  <a:pt x="4502" y="358"/>
                </a:lnTo>
                <a:lnTo>
                  <a:pt x="4514" y="370"/>
                </a:lnTo>
                <a:lnTo>
                  <a:pt x="4530" y="383"/>
                </a:lnTo>
                <a:lnTo>
                  <a:pt x="4545" y="393"/>
                </a:lnTo>
                <a:lnTo>
                  <a:pt x="4582" y="411"/>
                </a:lnTo>
                <a:lnTo>
                  <a:pt x="4582" y="411"/>
                </a:lnTo>
                <a:lnTo>
                  <a:pt x="4608" y="425"/>
                </a:lnTo>
                <a:lnTo>
                  <a:pt x="4619" y="431"/>
                </a:lnTo>
                <a:lnTo>
                  <a:pt x="4628" y="440"/>
                </a:lnTo>
                <a:lnTo>
                  <a:pt x="4635" y="449"/>
                </a:lnTo>
                <a:lnTo>
                  <a:pt x="4640" y="459"/>
                </a:lnTo>
                <a:lnTo>
                  <a:pt x="4643" y="470"/>
                </a:lnTo>
                <a:lnTo>
                  <a:pt x="4645" y="482"/>
                </a:lnTo>
                <a:lnTo>
                  <a:pt x="4645" y="482"/>
                </a:lnTo>
                <a:lnTo>
                  <a:pt x="4643" y="494"/>
                </a:lnTo>
                <a:lnTo>
                  <a:pt x="4640" y="505"/>
                </a:lnTo>
                <a:lnTo>
                  <a:pt x="4635" y="514"/>
                </a:lnTo>
                <a:lnTo>
                  <a:pt x="4628" y="522"/>
                </a:lnTo>
                <a:lnTo>
                  <a:pt x="4619" y="529"/>
                </a:lnTo>
                <a:lnTo>
                  <a:pt x="4610" y="533"/>
                </a:lnTo>
                <a:lnTo>
                  <a:pt x="4600" y="536"/>
                </a:lnTo>
                <a:lnTo>
                  <a:pt x="4587" y="538"/>
                </a:lnTo>
                <a:lnTo>
                  <a:pt x="4587" y="538"/>
                </a:lnTo>
                <a:lnTo>
                  <a:pt x="4579" y="536"/>
                </a:lnTo>
                <a:lnTo>
                  <a:pt x="4572" y="535"/>
                </a:lnTo>
                <a:lnTo>
                  <a:pt x="4554" y="529"/>
                </a:lnTo>
                <a:lnTo>
                  <a:pt x="4540" y="521"/>
                </a:lnTo>
                <a:lnTo>
                  <a:pt x="4526" y="508"/>
                </a:lnTo>
                <a:lnTo>
                  <a:pt x="4516" y="494"/>
                </a:lnTo>
                <a:lnTo>
                  <a:pt x="4505" y="477"/>
                </a:lnTo>
                <a:lnTo>
                  <a:pt x="4497" y="459"/>
                </a:lnTo>
                <a:lnTo>
                  <a:pt x="4490" y="440"/>
                </a:lnTo>
                <a:lnTo>
                  <a:pt x="4470" y="444"/>
                </a:lnTo>
                <a:lnTo>
                  <a:pt x="4470" y="444"/>
                </a:lnTo>
                <a:lnTo>
                  <a:pt x="4470" y="468"/>
                </a:lnTo>
                <a:lnTo>
                  <a:pt x="4474" y="496"/>
                </a:lnTo>
                <a:lnTo>
                  <a:pt x="4477" y="521"/>
                </a:lnTo>
                <a:lnTo>
                  <a:pt x="4483" y="536"/>
                </a:lnTo>
                <a:lnTo>
                  <a:pt x="4483" y="536"/>
                </a:lnTo>
                <a:lnTo>
                  <a:pt x="4497" y="545"/>
                </a:lnTo>
                <a:lnTo>
                  <a:pt x="4517" y="554"/>
                </a:lnTo>
                <a:lnTo>
                  <a:pt x="4544" y="561"/>
                </a:lnTo>
                <a:lnTo>
                  <a:pt x="4559" y="563"/>
                </a:lnTo>
                <a:lnTo>
                  <a:pt x="4573" y="563"/>
                </a:lnTo>
                <a:lnTo>
                  <a:pt x="4573" y="563"/>
                </a:lnTo>
                <a:lnTo>
                  <a:pt x="4598" y="561"/>
                </a:lnTo>
                <a:lnTo>
                  <a:pt x="4621" y="556"/>
                </a:lnTo>
                <a:lnTo>
                  <a:pt x="4643" y="549"/>
                </a:lnTo>
                <a:lnTo>
                  <a:pt x="4654" y="542"/>
                </a:lnTo>
                <a:lnTo>
                  <a:pt x="4663" y="536"/>
                </a:lnTo>
                <a:lnTo>
                  <a:pt x="4673" y="529"/>
                </a:lnTo>
                <a:lnTo>
                  <a:pt x="4680" y="521"/>
                </a:lnTo>
                <a:lnTo>
                  <a:pt x="4687" y="512"/>
                </a:lnTo>
                <a:lnTo>
                  <a:pt x="4694" y="501"/>
                </a:lnTo>
                <a:lnTo>
                  <a:pt x="4699" y="491"/>
                </a:lnTo>
                <a:lnTo>
                  <a:pt x="4703" y="480"/>
                </a:lnTo>
                <a:lnTo>
                  <a:pt x="4704" y="468"/>
                </a:lnTo>
                <a:lnTo>
                  <a:pt x="4704" y="454"/>
                </a:lnTo>
                <a:lnTo>
                  <a:pt x="4704" y="454"/>
                </a:lnTo>
                <a:lnTo>
                  <a:pt x="4703" y="435"/>
                </a:lnTo>
                <a:lnTo>
                  <a:pt x="4697" y="419"/>
                </a:lnTo>
                <a:lnTo>
                  <a:pt x="4689" y="404"/>
                </a:lnTo>
                <a:lnTo>
                  <a:pt x="4677" y="390"/>
                </a:lnTo>
                <a:lnTo>
                  <a:pt x="4663" y="379"/>
                </a:lnTo>
                <a:lnTo>
                  <a:pt x="4645" y="367"/>
                </a:lnTo>
                <a:lnTo>
                  <a:pt x="4626" y="358"/>
                </a:lnTo>
                <a:lnTo>
                  <a:pt x="4605" y="348"/>
                </a:lnTo>
                <a:lnTo>
                  <a:pt x="4605" y="348"/>
                </a:lnTo>
                <a:close/>
                <a:moveTo>
                  <a:pt x="4839" y="133"/>
                </a:moveTo>
                <a:lnTo>
                  <a:pt x="4839" y="133"/>
                </a:lnTo>
                <a:lnTo>
                  <a:pt x="4848" y="133"/>
                </a:lnTo>
                <a:lnTo>
                  <a:pt x="4855" y="129"/>
                </a:lnTo>
                <a:lnTo>
                  <a:pt x="4862" y="126"/>
                </a:lnTo>
                <a:lnTo>
                  <a:pt x="4867" y="121"/>
                </a:lnTo>
                <a:lnTo>
                  <a:pt x="4872" y="115"/>
                </a:lnTo>
                <a:lnTo>
                  <a:pt x="4876" y="108"/>
                </a:lnTo>
                <a:lnTo>
                  <a:pt x="4879" y="101"/>
                </a:lnTo>
                <a:lnTo>
                  <a:pt x="4879" y="93"/>
                </a:lnTo>
                <a:lnTo>
                  <a:pt x="4879" y="93"/>
                </a:lnTo>
                <a:lnTo>
                  <a:pt x="4879" y="84"/>
                </a:lnTo>
                <a:lnTo>
                  <a:pt x="4876" y="77"/>
                </a:lnTo>
                <a:lnTo>
                  <a:pt x="4872" y="70"/>
                </a:lnTo>
                <a:lnTo>
                  <a:pt x="4867" y="65"/>
                </a:lnTo>
                <a:lnTo>
                  <a:pt x="4862" y="59"/>
                </a:lnTo>
                <a:lnTo>
                  <a:pt x="4855" y="56"/>
                </a:lnTo>
                <a:lnTo>
                  <a:pt x="4848" y="52"/>
                </a:lnTo>
                <a:lnTo>
                  <a:pt x="4839" y="52"/>
                </a:lnTo>
                <a:lnTo>
                  <a:pt x="4839" y="52"/>
                </a:lnTo>
                <a:lnTo>
                  <a:pt x="4832" y="52"/>
                </a:lnTo>
                <a:lnTo>
                  <a:pt x="4823" y="56"/>
                </a:lnTo>
                <a:lnTo>
                  <a:pt x="4818" y="59"/>
                </a:lnTo>
                <a:lnTo>
                  <a:pt x="4811" y="65"/>
                </a:lnTo>
                <a:lnTo>
                  <a:pt x="4806" y="70"/>
                </a:lnTo>
                <a:lnTo>
                  <a:pt x="4802" y="77"/>
                </a:lnTo>
                <a:lnTo>
                  <a:pt x="4801" y="84"/>
                </a:lnTo>
                <a:lnTo>
                  <a:pt x="4799" y="93"/>
                </a:lnTo>
                <a:lnTo>
                  <a:pt x="4799" y="93"/>
                </a:lnTo>
                <a:lnTo>
                  <a:pt x="4801" y="101"/>
                </a:lnTo>
                <a:lnTo>
                  <a:pt x="4802" y="108"/>
                </a:lnTo>
                <a:lnTo>
                  <a:pt x="4806" y="115"/>
                </a:lnTo>
                <a:lnTo>
                  <a:pt x="4811" y="121"/>
                </a:lnTo>
                <a:lnTo>
                  <a:pt x="4816" y="126"/>
                </a:lnTo>
                <a:lnTo>
                  <a:pt x="4823" y="129"/>
                </a:lnTo>
                <a:lnTo>
                  <a:pt x="4830" y="133"/>
                </a:lnTo>
                <a:lnTo>
                  <a:pt x="4839" y="133"/>
                </a:lnTo>
                <a:lnTo>
                  <a:pt x="4839" y="133"/>
                </a:lnTo>
                <a:close/>
                <a:moveTo>
                  <a:pt x="4876" y="470"/>
                </a:moveTo>
                <a:lnTo>
                  <a:pt x="4876" y="199"/>
                </a:lnTo>
                <a:lnTo>
                  <a:pt x="4876" y="199"/>
                </a:lnTo>
                <a:lnTo>
                  <a:pt x="4848" y="210"/>
                </a:lnTo>
                <a:lnTo>
                  <a:pt x="4822" y="218"/>
                </a:lnTo>
                <a:lnTo>
                  <a:pt x="4792" y="225"/>
                </a:lnTo>
                <a:lnTo>
                  <a:pt x="4762" y="231"/>
                </a:lnTo>
                <a:lnTo>
                  <a:pt x="4762" y="250"/>
                </a:lnTo>
                <a:lnTo>
                  <a:pt x="4762" y="250"/>
                </a:lnTo>
                <a:lnTo>
                  <a:pt x="4778" y="252"/>
                </a:lnTo>
                <a:lnTo>
                  <a:pt x="4790" y="255"/>
                </a:lnTo>
                <a:lnTo>
                  <a:pt x="4799" y="259"/>
                </a:lnTo>
                <a:lnTo>
                  <a:pt x="4806" y="264"/>
                </a:lnTo>
                <a:lnTo>
                  <a:pt x="4809" y="271"/>
                </a:lnTo>
                <a:lnTo>
                  <a:pt x="4811" y="280"/>
                </a:lnTo>
                <a:lnTo>
                  <a:pt x="4813" y="307"/>
                </a:lnTo>
                <a:lnTo>
                  <a:pt x="4813" y="470"/>
                </a:lnTo>
                <a:lnTo>
                  <a:pt x="4813" y="470"/>
                </a:lnTo>
                <a:lnTo>
                  <a:pt x="4813" y="489"/>
                </a:lnTo>
                <a:lnTo>
                  <a:pt x="4811" y="503"/>
                </a:lnTo>
                <a:lnTo>
                  <a:pt x="4808" y="512"/>
                </a:lnTo>
                <a:lnTo>
                  <a:pt x="4804" y="521"/>
                </a:lnTo>
                <a:lnTo>
                  <a:pt x="4797" y="526"/>
                </a:lnTo>
                <a:lnTo>
                  <a:pt x="4787" y="529"/>
                </a:lnTo>
                <a:lnTo>
                  <a:pt x="4774" y="531"/>
                </a:lnTo>
                <a:lnTo>
                  <a:pt x="4757" y="533"/>
                </a:lnTo>
                <a:lnTo>
                  <a:pt x="4757" y="554"/>
                </a:lnTo>
                <a:lnTo>
                  <a:pt x="4932" y="554"/>
                </a:lnTo>
                <a:lnTo>
                  <a:pt x="4932" y="533"/>
                </a:lnTo>
                <a:lnTo>
                  <a:pt x="4932" y="533"/>
                </a:lnTo>
                <a:lnTo>
                  <a:pt x="4914" y="531"/>
                </a:lnTo>
                <a:lnTo>
                  <a:pt x="4902" y="529"/>
                </a:lnTo>
                <a:lnTo>
                  <a:pt x="4891" y="526"/>
                </a:lnTo>
                <a:lnTo>
                  <a:pt x="4884" y="521"/>
                </a:lnTo>
                <a:lnTo>
                  <a:pt x="4879" y="512"/>
                </a:lnTo>
                <a:lnTo>
                  <a:pt x="4877" y="503"/>
                </a:lnTo>
                <a:lnTo>
                  <a:pt x="4876" y="489"/>
                </a:lnTo>
                <a:lnTo>
                  <a:pt x="4876" y="470"/>
                </a:lnTo>
                <a:lnTo>
                  <a:pt x="4876" y="470"/>
                </a:lnTo>
                <a:close/>
                <a:moveTo>
                  <a:pt x="5119" y="519"/>
                </a:moveTo>
                <a:lnTo>
                  <a:pt x="5119" y="519"/>
                </a:lnTo>
                <a:lnTo>
                  <a:pt x="5110" y="517"/>
                </a:lnTo>
                <a:lnTo>
                  <a:pt x="5103" y="515"/>
                </a:lnTo>
                <a:lnTo>
                  <a:pt x="5094" y="512"/>
                </a:lnTo>
                <a:lnTo>
                  <a:pt x="5087" y="505"/>
                </a:lnTo>
                <a:lnTo>
                  <a:pt x="5082" y="494"/>
                </a:lnTo>
                <a:lnTo>
                  <a:pt x="5077" y="482"/>
                </a:lnTo>
                <a:lnTo>
                  <a:pt x="5073" y="465"/>
                </a:lnTo>
                <a:lnTo>
                  <a:pt x="5071" y="444"/>
                </a:lnTo>
                <a:lnTo>
                  <a:pt x="5071" y="241"/>
                </a:lnTo>
                <a:lnTo>
                  <a:pt x="5157" y="241"/>
                </a:lnTo>
                <a:lnTo>
                  <a:pt x="5157" y="241"/>
                </a:lnTo>
                <a:lnTo>
                  <a:pt x="5161" y="239"/>
                </a:lnTo>
                <a:lnTo>
                  <a:pt x="5162" y="236"/>
                </a:lnTo>
                <a:lnTo>
                  <a:pt x="5166" y="227"/>
                </a:lnTo>
                <a:lnTo>
                  <a:pt x="5166" y="218"/>
                </a:lnTo>
                <a:lnTo>
                  <a:pt x="5164" y="215"/>
                </a:lnTo>
                <a:lnTo>
                  <a:pt x="5162" y="211"/>
                </a:lnTo>
                <a:lnTo>
                  <a:pt x="5071" y="211"/>
                </a:lnTo>
                <a:lnTo>
                  <a:pt x="5071" y="103"/>
                </a:lnTo>
                <a:lnTo>
                  <a:pt x="5061" y="101"/>
                </a:lnTo>
                <a:lnTo>
                  <a:pt x="5009" y="154"/>
                </a:lnTo>
                <a:lnTo>
                  <a:pt x="5009" y="211"/>
                </a:lnTo>
                <a:lnTo>
                  <a:pt x="4972" y="211"/>
                </a:lnTo>
                <a:lnTo>
                  <a:pt x="4951" y="234"/>
                </a:lnTo>
                <a:lnTo>
                  <a:pt x="4954" y="241"/>
                </a:lnTo>
                <a:lnTo>
                  <a:pt x="5009" y="241"/>
                </a:lnTo>
                <a:lnTo>
                  <a:pt x="5009" y="470"/>
                </a:lnTo>
                <a:lnTo>
                  <a:pt x="5009" y="470"/>
                </a:lnTo>
                <a:lnTo>
                  <a:pt x="5010" y="491"/>
                </a:lnTo>
                <a:lnTo>
                  <a:pt x="5014" y="510"/>
                </a:lnTo>
                <a:lnTo>
                  <a:pt x="5021" y="526"/>
                </a:lnTo>
                <a:lnTo>
                  <a:pt x="5030" y="540"/>
                </a:lnTo>
                <a:lnTo>
                  <a:pt x="5040" y="550"/>
                </a:lnTo>
                <a:lnTo>
                  <a:pt x="5054" y="557"/>
                </a:lnTo>
                <a:lnTo>
                  <a:pt x="5070" y="563"/>
                </a:lnTo>
                <a:lnTo>
                  <a:pt x="5087" y="563"/>
                </a:lnTo>
                <a:lnTo>
                  <a:pt x="5087" y="563"/>
                </a:lnTo>
                <a:lnTo>
                  <a:pt x="5101" y="561"/>
                </a:lnTo>
                <a:lnTo>
                  <a:pt x="5110" y="557"/>
                </a:lnTo>
                <a:lnTo>
                  <a:pt x="5120" y="554"/>
                </a:lnTo>
                <a:lnTo>
                  <a:pt x="5175" y="526"/>
                </a:lnTo>
                <a:lnTo>
                  <a:pt x="5168" y="505"/>
                </a:lnTo>
                <a:lnTo>
                  <a:pt x="5168" y="505"/>
                </a:lnTo>
                <a:lnTo>
                  <a:pt x="5157" y="510"/>
                </a:lnTo>
                <a:lnTo>
                  <a:pt x="5147" y="514"/>
                </a:lnTo>
                <a:lnTo>
                  <a:pt x="5133" y="517"/>
                </a:lnTo>
                <a:lnTo>
                  <a:pt x="5119" y="519"/>
                </a:lnTo>
                <a:lnTo>
                  <a:pt x="5119" y="519"/>
                </a:lnTo>
                <a:close/>
                <a:moveTo>
                  <a:pt x="5286" y="131"/>
                </a:moveTo>
                <a:lnTo>
                  <a:pt x="5286" y="131"/>
                </a:lnTo>
                <a:lnTo>
                  <a:pt x="5295" y="131"/>
                </a:lnTo>
                <a:lnTo>
                  <a:pt x="5302" y="129"/>
                </a:lnTo>
                <a:lnTo>
                  <a:pt x="5307" y="124"/>
                </a:lnTo>
                <a:lnTo>
                  <a:pt x="5313" y="121"/>
                </a:lnTo>
                <a:lnTo>
                  <a:pt x="5318" y="114"/>
                </a:lnTo>
                <a:lnTo>
                  <a:pt x="5321" y="108"/>
                </a:lnTo>
                <a:lnTo>
                  <a:pt x="5323" y="101"/>
                </a:lnTo>
                <a:lnTo>
                  <a:pt x="5323" y="94"/>
                </a:lnTo>
                <a:lnTo>
                  <a:pt x="5323" y="94"/>
                </a:lnTo>
                <a:lnTo>
                  <a:pt x="5323" y="86"/>
                </a:lnTo>
                <a:lnTo>
                  <a:pt x="5321" y="79"/>
                </a:lnTo>
                <a:lnTo>
                  <a:pt x="5318" y="72"/>
                </a:lnTo>
                <a:lnTo>
                  <a:pt x="5313" y="66"/>
                </a:lnTo>
                <a:lnTo>
                  <a:pt x="5307" y="61"/>
                </a:lnTo>
                <a:lnTo>
                  <a:pt x="5302" y="58"/>
                </a:lnTo>
                <a:lnTo>
                  <a:pt x="5295" y="56"/>
                </a:lnTo>
                <a:lnTo>
                  <a:pt x="5288" y="54"/>
                </a:lnTo>
                <a:lnTo>
                  <a:pt x="5288" y="54"/>
                </a:lnTo>
                <a:lnTo>
                  <a:pt x="5279" y="56"/>
                </a:lnTo>
                <a:lnTo>
                  <a:pt x="5272" y="58"/>
                </a:lnTo>
                <a:lnTo>
                  <a:pt x="5265" y="61"/>
                </a:lnTo>
                <a:lnTo>
                  <a:pt x="5260" y="66"/>
                </a:lnTo>
                <a:lnTo>
                  <a:pt x="5255" y="72"/>
                </a:lnTo>
                <a:lnTo>
                  <a:pt x="5251" y="79"/>
                </a:lnTo>
                <a:lnTo>
                  <a:pt x="5250" y="86"/>
                </a:lnTo>
                <a:lnTo>
                  <a:pt x="5248" y="94"/>
                </a:lnTo>
                <a:lnTo>
                  <a:pt x="5248" y="94"/>
                </a:lnTo>
                <a:lnTo>
                  <a:pt x="5250" y="101"/>
                </a:lnTo>
                <a:lnTo>
                  <a:pt x="5251" y="108"/>
                </a:lnTo>
                <a:lnTo>
                  <a:pt x="5255" y="114"/>
                </a:lnTo>
                <a:lnTo>
                  <a:pt x="5260" y="121"/>
                </a:lnTo>
                <a:lnTo>
                  <a:pt x="5265" y="124"/>
                </a:lnTo>
                <a:lnTo>
                  <a:pt x="5272" y="129"/>
                </a:lnTo>
                <a:lnTo>
                  <a:pt x="5279" y="131"/>
                </a:lnTo>
                <a:lnTo>
                  <a:pt x="5286" y="131"/>
                </a:lnTo>
                <a:lnTo>
                  <a:pt x="5286" y="131"/>
                </a:lnTo>
                <a:close/>
                <a:moveTo>
                  <a:pt x="5421" y="131"/>
                </a:moveTo>
                <a:lnTo>
                  <a:pt x="5421" y="131"/>
                </a:lnTo>
                <a:lnTo>
                  <a:pt x="5428" y="131"/>
                </a:lnTo>
                <a:lnTo>
                  <a:pt x="5435" y="129"/>
                </a:lnTo>
                <a:lnTo>
                  <a:pt x="5442" y="124"/>
                </a:lnTo>
                <a:lnTo>
                  <a:pt x="5447" y="121"/>
                </a:lnTo>
                <a:lnTo>
                  <a:pt x="5452" y="114"/>
                </a:lnTo>
                <a:lnTo>
                  <a:pt x="5456" y="108"/>
                </a:lnTo>
                <a:lnTo>
                  <a:pt x="5458" y="101"/>
                </a:lnTo>
                <a:lnTo>
                  <a:pt x="5458" y="94"/>
                </a:lnTo>
                <a:lnTo>
                  <a:pt x="5458" y="94"/>
                </a:lnTo>
                <a:lnTo>
                  <a:pt x="5458" y="86"/>
                </a:lnTo>
                <a:lnTo>
                  <a:pt x="5456" y="79"/>
                </a:lnTo>
                <a:lnTo>
                  <a:pt x="5452" y="72"/>
                </a:lnTo>
                <a:lnTo>
                  <a:pt x="5447" y="66"/>
                </a:lnTo>
                <a:lnTo>
                  <a:pt x="5442" y="61"/>
                </a:lnTo>
                <a:lnTo>
                  <a:pt x="5435" y="58"/>
                </a:lnTo>
                <a:lnTo>
                  <a:pt x="5428" y="56"/>
                </a:lnTo>
                <a:lnTo>
                  <a:pt x="5421" y="54"/>
                </a:lnTo>
                <a:lnTo>
                  <a:pt x="5421" y="54"/>
                </a:lnTo>
                <a:lnTo>
                  <a:pt x="5414" y="56"/>
                </a:lnTo>
                <a:lnTo>
                  <a:pt x="5405" y="58"/>
                </a:lnTo>
                <a:lnTo>
                  <a:pt x="5400" y="61"/>
                </a:lnTo>
                <a:lnTo>
                  <a:pt x="5393" y="66"/>
                </a:lnTo>
                <a:lnTo>
                  <a:pt x="5390" y="72"/>
                </a:lnTo>
                <a:lnTo>
                  <a:pt x="5386" y="79"/>
                </a:lnTo>
                <a:lnTo>
                  <a:pt x="5384" y="86"/>
                </a:lnTo>
                <a:lnTo>
                  <a:pt x="5383" y="94"/>
                </a:lnTo>
                <a:lnTo>
                  <a:pt x="5383" y="94"/>
                </a:lnTo>
                <a:lnTo>
                  <a:pt x="5384" y="101"/>
                </a:lnTo>
                <a:lnTo>
                  <a:pt x="5386" y="108"/>
                </a:lnTo>
                <a:lnTo>
                  <a:pt x="5390" y="114"/>
                </a:lnTo>
                <a:lnTo>
                  <a:pt x="5393" y="121"/>
                </a:lnTo>
                <a:lnTo>
                  <a:pt x="5400" y="124"/>
                </a:lnTo>
                <a:lnTo>
                  <a:pt x="5405" y="129"/>
                </a:lnTo>
                <a:lnTo>
                  <a:pt x="5412" y="131"/>
                </a:lnTo>
                <a:lnTo>
                  <a:pt x="5421" y="131"/>
                </a:lnTo>
                <a:lnTo>
                  <a:pt x="5421" y="131"/>
                </a:lnTo>
                <a:close/>
                <a:moveTo>
                  <a:pt x="5494" y="512"/>
                </a:moveTo>
                <a:lnTo>
                  <a:pt x="5494" y="512"/>
                </a:lnTo>
                <a:lnTo>
                  <a:pt x="5489" y="510"/>
                </a:lnTo>
                <a:lnTo>
                  <a:pt x="5486" y="508"/>
                </a:lnTo>
                <a:lnTo>
                  <a:pt x="5480" y="507"/>
                </a:lnTo>
                <a:lnTo>
                  <a:pt x="5475" y="501"/>
                </a:lnTo>
                <a:lnTo>
                  <a:pt x="5472" y="494"/>
                </a:lnTo>
                <a:lnTo>
                  <a:pt x="5470" y="487"/>
                </a:lnTo>
                <a:lnTo>
                  <a:pt x="5468" y="477"/>
                </a:lnTo>
                <a:lnTo>
                  <a:pt x="5466" y="465"/>
                </a:lnTo>
                <a:lnTo>
                  <a:pt x="5466" y="318"/>
                </a:lnTo>
                <a:lnTo>
                  <a:pt x="5466" y="318"/>
                </a:lnTo>
                <a:lnTo>
                  <a:pt x="5465" y="290"/>
                </a:lnTo>
                <a:lnTo>
                  <a:pt x="5463" y="276"/>
                </a:lnTo>
                <a:lnTo>
                  <a:pt x="5459" y="264"/>
                </a:lnTo>
                <a:lnTo>
                  <a:pt x="5454" y="252"/>
                </a:lnTo>
                <a:lnTo>
                  <a:pt x="5449" y="241"/>
                </a:lnTo>
                <a:lnTo>
                  <a:pt x="5440" y="232"/>
                </a:lnTo>
                <a:lnTo>
                  <a:pt x="5431" y="222"/>
                </a:lnTo>
                <a:lnTo>
                  <a:pt x="5431" y="222"/>
                </a:lnTo>
                <a:lnTo>
                  <a:pt x="5417" y="213"/>
                </a:lnTo>
                <a:lnTo>
                  <a:pt x="5402" y="206"/>
                </a:lnTo>
                <a:lnTo>
                  <a:pt x="5384" y="203"/>
                </a:lnTo>
                <a:lnTo>
                  <a:pt x="5367" y="201"/>
                </a:lnTo>
                <a:lnTo>
                  <a:pt x="5367" y="201"/>
                </a:lnTo>
                <a:lnTo>
                  <a:pt x="5349" y="206"/>
                </a:lnTo>
                <a:lnTo>
                  <a:pt x="5332" y="211"/>
                </a:lnTo>
                <a:lnTo>
                  <a:pt x="5297" y="225"/>
                </a:lnTo>
                <a:lnTo>
                  <a:pt x="5269" y="243"/>
                </a:lnTo>
                <a:lnTo>
                  <a:pt x="5246" y="257"/>
                </a:lnTo>
                <a:lnTo>
                  <a:pt x="5246" y="257"/>
                </a:lnTo>
                <a:lnTo>
                  <a:pt x="5236" y="264"/>
                </a:lnTo>
                <a:lnTo>
                  <a:pt x="5229" y="273"/>
                </a:lnTo>
                <a:lnTo>
                  <a:pt x="5223" y="280"/>
                </a:lnTo>
                <a:lnTo>
                  <a:pt x="5222" y="288"/>
                </a:lnTo>
                <a:lnTo>
                  <a:pt x="5222" y="288"/>
                </a:lnTo>
                <a:lnTo>
                  <a:pt x="5222" y="293"/>
                </a:lnTo>
                <a:lnTo>
                  <a:pt x="5225" y="300"/>
                </a:lnTo>
                <a:lnTo>
                  <a:pt x="5229" y="306"/>
                </a:lnTo>
                <a:lnTo>
                  <a:pt x="5234" y="311"/>
                </a:lnTo>
                <a:lnTo>
                  <a:pt x="5244" y="318"/>
                </a:lnTo>
                <a:lnTo>
                  <a:pt x="5251" y="321"/>
                </a:lnTo>
                <a:lnTo>
                  <a:pt x="5257" y="321"/>
                </a:lnTo>
                <a:lnTo>
                  <a:pt x="5257" y="321"/>
                </a:lnTo>
                <a:lnTo>
                  <a:pt x="5264" y="320"/>
                </a:lnTo>
                <a:lnTo>
                  <a:pt x="5271" y="316"/>
                </a:lnTo>
                <a:lnTo>
                  <a:pt x="5276" y="311"/>
                </a:lnTo>
                <a:lnTo>
                  <a:pt x="5279" y="302"/>
                </a:lnTo>
                <a:lnTo>
                  <a:pt x="5279" y="302"/>
                </a:lnTo>
                <a:lnTo>
                  <a:pt x="5285" y="286"/>
                </a:lnTo>
                <a:lnTo>
                  <a:pt x="5290" y="273"/>
                </a:lnTo>
                <a:lnTo>
                  <a:pt x="5297" y="260"/>
                </a:lnTo>
                <a:lnTo>
                  <a:pt x="5304" y="252"/>
                </a:lnTo>
                <a:lnTo>
                  <a:pt x="5304" y="252"/>
                </a:lnTo>
                <a:lnTo>
                  <a:pt x="5311" y="245"/>
                </a:lnTo>
                <a:lnTo>
                  <a:pt x="5318" y="241"/>
                </a:lnTo>
                <a:lnTo>
                  <a:pt x="5328" y="238"/>
                </a:lnTo>
                <a:lnTo>
                  <a:pt x="5339" y="236"/>
                </a:lnTo>
                <a:lnTo>
                  <a:pt x="5339" y="236"/>
                </a:lnTo>
                <a:lnTo>
                  <a:pt x="5353" y="238"/>
                </a:lnTo>
                <a:lnTo>
                  <a:pt x="5367" y="241"/>
                </a:lnTo>
                <a:lnTo>
                  <a:pt x="5377" y="250"/>
                </a:lnTo>
                <a:lnTo>
                  <a:pt x="5388" y="259"/>
                </a:lnTo>
                <a:lnTo>
                  <a:pt x="5395" y="273"/>
                </a:lnTo>
                <a:lnTo>
                  <a:pt x="5402" y="286"/>
                </a:lnTo>
                <a:lnTo>
                  <a:pt x="5405" y="304"/>
                </a:lnTo>
                <a:lnTo>
                  <a:pt x="5405" y="325"/>
                </a:lnTo>
                <a:lnTo>
                  <a:pt x="5405" y="339"/>
                </a:lnTo>
                <a:lnTo>
                  <a:pt x="5405" y="339"/>
                </a:lnTo>
                <a:lnTo>
                  <a:pt x="5398" y="344"/>
                </a:lnTo>
                <a:lnTo>
                  <a:pt x="5386" y="351"/>
                </a:lnTo>
                <a:lnTo>
                  <a:pt x="5356" y="363"/>
                </a:lnTo>
                <a:lnTo>
                  <a:pt x="5320" y="377"/>
                </a:lnTo>
                <a:lnTo>
                  <a:pt x="5283" y="390"/>
                </a:lnTo>
                <a:lnTo>
                  <a:pt x="5283" y="390"/>
                </a:lnTo>
                <a:lnTo>
                  <a:pt x="5267" y="397"/>
                </a:lnTo>
                <a:lnTo>
                  <a:pt x="5255" y="404"/>
                </a:lnTo>
                <a:lnTo>
                  <a:pt x="5243" y="411"/>
                </a:lnTo>
                <a:lnTo>
                  <a:pt x="5234" y="419"/>
                </a:lnTo>
                <a:lnTo>
                  <a:pt x="5227" y="430"/>
                </a:lnTo>
                <a:lnTo>
                  <a:pt x="5222" y="442"/>
                </a:lnTo>
                <a:lnTo>
                  <a:pt x="5220" y="454"/>
                </a:lnTo>
                <a:lnTo>
                  <a:pt x="5218" y="468"/>
                </a:lnTo>
                <a:lnTo>
                  <a:pt x="5218" y="468"/>
                </a:lnTo>
                <a:lnTo>
                  <a:pt x="5220" y="486"/>
                </a:lnTo>
                <a:lnTo>
                  <a:pt x="5225" y="503"/>
                </a:lnTo>
                <a:lnTo>
                  <a:pt x="5234" y="519"/>
                </a:lnTo>
                <a:lnTo>
                  <a:pt x="5244" y="535"/>
                </a:lnTo>
                <a:lnTo>
                  <a:pt x="5258" y="547"/>
                </a:lnTo>
                <a:lnTo>
                  <a:pt x="5274" y="556"/>
                </a:lnTo>
                <a:lnTo>
                  <a:pt x="5293" y="561"/>
                </a:lnTo>
                <a:lnTo>
                  <a:pt x="5304" y="563"/>
                </a:lnTo>
                <a:lnTo>
                  <a:pt x="5314" y="563"/>
                </a:lnTo>
                <a:lnTo>
                  <a:pt x="5314" y="563"/>
                </a:lnTo>
                <a:lnTo>
                  <a:pt x="5323" y="563"/>
                </a:lnTo>
                <a:lnTo>
                  <a:pt x="5334" y="559"/>
                </a:lnTo>
                <a:lnTo>
                  <a:pt x="5346" y="552"/>
                </a:lnTo>
                <a:lnTo>
                  <a:pt x="5358" y="547"/>
                </a:lnTo>
                <a:lnTo>
                  <a:pt x="5383" y="529"/>
                </a:lnTo>
                <a:lnTo>
                  <a:pt x="5407" y="514"/>
                </a:lnTo>
                <a:lnTo>
                  <a:pt x="5407" y="514"/>
                </a:lnTo>
                <a:lnTo>
                  <a:pt x="5410" y="522"/>
                </a:lnTo>
                <a:lnTo>
                  <a:pt x="5414" y="531"/>
                </a:lnTo>
                <a:lnTo>
                  <a:pt x="5419" y="540"/>
                </a:lnTo>
                <a:lnTo>
                  <a:pt x="5426" y="549"/>
                </a:lnTo>
                <a:lnTo>
                  <a:pt x="5426" y="549"/>
                </a:lnTo>
                <a:lnTo>
                  <a:pt x="5435" y="554"/>
                </a:lnTo>
                <a:lnTo>
                  <a:pt x="5444" y="559"/>
                </a:lnTo>
                <a:lnTo>
                  <a:pt x="5454" y="563"/>
                </a:lnTo>
                <a:lnTo>
                  <a:pt x="5465" y="563"/>
                </a:lnTo>
                <a:lnTo>
                  <a:pt x="5531" y="522"/>
                </a:lnTo>
                <a:lnTo>
                  <a:pt x="5524" y="503"/>
                </a:lnTo>
                <a:lnTo>
                  <a:pt x="5524" y="503"/>
                </a:lnTo>
                <a:lnTo>
                  <a:pt x="5510" y="508"/>
                </a:lnTo>
                <a:lnTo>
                  <a:pt x="5503" y="510"/>
                </a:lnTo>
                <a:lnTo>
                  <a:pt x="5494" y="512"/>
                </a:lnTo>
                <a:lnTo>
                  <a:pt x="5494" y="512"/>
                </a:lnTo>
                <a:close/>
                <a:moveTo>
                  <a:pt x="5405" y="487"/>
                </a:moveTo>
                <a:lnTo>
                  <a:pt x="5405" y="487"/>
                </a:lnTo>
                <a:lnTo>
                  <a:pt x="5393" y="498"/>
                </a:lnTo>
                <a:lnTo>
                  <a:pt x="5376" y="507"/>
                </a:lnTo>
                <a:lnTo>
                  <a:pt x="5358" y="514"/>
                </a:lnTo>
                <a:lnTo>
                  <a:pt x="5342" y="515"/>
                </a:lnTo>
                <a:lnTo>
                  <a:pt x="5342" y="515"/>
                </a:lnTo>
                <a:lnTo>
                  <a:pt x="5332" y="515"/>
                </a:lnTo>
                <a:lnTo>
                  <a:pt x="5323" y="512"/>
                </a:lnTo>
                <a:lnTo>
                  <a:pt x="5314" y="508"/>
                </a:lnTo>
                <a:lnTo>
                  <a:pt x="5306" y="501"/>
                </a:lnTo>
                <a:lnTo>
                  <a:pt x="5297" y="493"/>
                </a:lnTo>
                <a:lnTo>
                  <a:pt x="5292" y="482"/>
                </a:lnTo>
                <a:lnTo>
                  <a:pt x="5286" y="470"/>
                </a:lnTo>
                <a:lnTo>
                  <a:pt x="5286" y="456"/>
                </a:lnTo>
                <a:lnTo>
                  <a:pt x="5286" y="456"/>
                </a:lnTo>
                <a:lnTo>
                  <a:pt x="5286" y="445"/>
                </a:lnTo>
                <a:lnTo>
                  <a:pt x="5288" y="437"/>
                </a:lnTo>
                <a:lnTo>
                  <a:pt x="5293" y="428"/>
                </a:lnTo>
                <a:lnTo>
                  <a:pt x="5299" y="421"/>
                </a:lnTo>
                <a:lnTo>
                  <a:pt x="5306" y="416"/>
                </a:lnTo>
                <a:lnTo>
                  <a:pt x="5314" y="409"/>
                </a:lnTo>
                <a:lnTo>
                  <a:pt x="5334" y="398"/>
                </a:lnTo>
                <a:lnTo>
                  <a:pt x="5334" y="398"/>
                </a:lnTo>
                <a:lnTo>
                  <a:pt x="5370" y="383"/>
                </a:lnTo>
                <a:lnTo>
                  <a:pt x="5405" y="365"/>
                </a:lnTo>
                <a:lnTo>
                  <a:pt x="5405" y="487"/>
                </a:lnTo>
                <a:close/>
                <a:moveTo>
                  <a:pt x="5753" y="505"/>
                </a:moveTo>
                <a:lnTo>
                  <a:pt x="5753" y="505"/>
                </a:lnTo>
                <a:lnTo>
                  <a:pt x="5744" y="510"/>
                </a:lnTo>
                <a:lnTo>
                  <a:pt x="5732" y="514"/>
                </a:lnTo>
                <a:lnTo>
                  <a:pt x="5718" y="517"/>
                </a:lnTo>
                <a:lnTo>
                  <a:pt x="5704" y="519"/>
                </a:lnTo>
                <a:lnTo>
                  <a:pt x="5704" y="519"/>
                </a:lnTo>
                <a:lnTo>
                  <a:pt x="5697" y="517"/>
                </a:lnTo>
                <a:lnTo>
                  <a:pt x="5688" y="515"/>
                </a:lnTo>
                <a:lnTo>
                  <a:pt x="5681" y="512"/>
                </a:lnTo>
                <a:lnTo>
                  <a:pt x="5674" y="505"/>
                </a:lnTo>
                <a:lnTo>
                  <a:pt x="5667" y="494"/>
                </a:lnTo>
                <a:lnTo>
                  <a:pt x="5662" y="482"/>
                </a:lnTo>
                <a:lnTo>
                  <a:pt x="5659" y="465"/>
                </a:lnTo>
                <a:lnTo>
                  <a:pt x="5659" y="444"/>
                </a:lnTo>
                <a:lnTo>
                  <a:pt x="5659" y="241"/>
                </a:lnTo>
                <a:lnTo>
                  <a:pt x="5743" y="241"/>
                </a:lnTo>
                <a:lnTo>
                  <a:pt x="5743" y="241"/>
                </a:lnTo>
                <a:lnTo>
                  <a:pt x="5746" y="239"/>
                </a:lnTo>
                <a:lnTo>
                  <a:pt x="5750" y="236"/>
                </a:lnTo>
                <a:lnTo>
                  <a:pt x="5751" y="227"/>
                </a:lnTo>
                <a:lnTo>
                  <a:pt x="5751" y="218"/>
                </a:lnTo>
                <a:lnTo>
                  <a:pt x="5750" y="215"/>
                </a:lnTo>
                <a:lnTo>
                  <a:pt x="5748" y="211"/>
                </a:lnTo>
                <a:lnTo>
                  <a:pt x="5659" y="211"/>
                </a:lnTo>
                <a:lnTo>
                  <a:pt x="5659" y="103"/>
                </a:lnTo>
                <a:lnTo>
                  <a:pt x="5646" y="101"/>
                </a:lnTo>
                <a:lnTo>
                  <a:pt x="5596" y="154"/>
                </a:lnTo>
                <a:lnTo>
                  <a:pt x="5596" y="211"/>
                </a:lnTo>
                <a:lnTo>
                  <a:pt x="5559" y="211"/>
                </a:lnTo>
                <a:lnTo>
                  <a:pt x="5536" y="234"/>
                </a:lnTo>
                <a:lnTo>
                  <a:pt x="5540" y="241"/>
                </a:lnTo>
                <a:lnTo>
                  <a:pt x="5596" y="241"/>
                </a:lnTo>
                <a:lnTo>
                  <a:pt x="5596" y="470"/>
                </a:lnTo>
                <a:lnTo>
                  <a:pt x="5596" y="470"/>
                </a:lnTo>
                <a:lnTo>
                  <a:pt x="5596" y="491"/>
                </a:lnTo>
                <a:lnTo>
                  <a:pt x="5601" y="510"/>
                </a:lnTo>
                <a:lnTo>
                  <a:pt x="5606" y="526"/>
                </a:lnTo>
                <a:lnTo>
                  <a:pt x="5615" y="540"/>
                </a:lnTo>
                <a:lnTo>
                  <a:pt x="5627" y="550"/>
                </a:lnTo>
                <a:lnTo>
                  <a:pt x="5639" y="557"/>
                </a:lnTo>
                <a:lnTo>
                  <a:pt x="5655" y="563"/>
                </a:lnTo>
                <a:lnTo>
                  <a:pt x="5673" y="563"/>
                </a:lnTo>
                <a:lnTo>
                  <a:pt x="5673" y="563"/>
                </a:lnTo>
                <a:lnTo>
                  <a:pt x="5687" y="561"/>
                </a:lnTo>
                <a:lnTo>
                  <a:pt x="5697" y="557"/>
                </a:lnTo>
                <a:lnTo>
                  <a:pt x="5706" y="554"/>
                </a:lnTo>
                <a:lnTo>
                  <a:pt x="5760" y="526"/>
                </a:lnTo>
                <a:lnTo>
                  <a:pt x="5753" y="505"/>
                </a:lnTo>
                <a:close/>
                <a:moveTo>
                  <a:pt x="1480" y="145"/>
                </a:moveTo>
                <a:lnTo>
                  <a:pt x="2066" y="145"/>
                </a:lnTo>
                <a:lnTo>
                  <a:pt x="2066" y="5"/>
                </a:lnTo>
                <a:lnTo>
                  <a:pt x="1480" y="5"/>
                </a:lnTo>
                <a:lnTo>
                  <a:pt x="1480" y="145"/>
                </a:lnTo>
                <a:close/>
                <a:moveTo>
                  <a:pt x="1480" y="349"/>
                </a:moveTo>
                <a:lnTo>
                  <a:pt x="2066" y="349"/>
                </a:lnTo>
                <a:lnTo>
                  <a:pt x="2066" y="210"/>
                </a:lnTo>
                <a:lnTo>
                  <a:pt x="1480" y="210"/>
                </a:lnTo>
                <a:lnTo>
                  <a:pt x="1480" y="349"/>
                </a:lnTo>
                <a:close/>
                <a:moveTo>
                  <a:pt x="1480" y="554"/>
                </a:moveTo>
                <a:lnTo>
                  <a:pt x="2066" y="554"/>
                </a:lnTo>
                <a:lnTo>
                  <a:pt x="2066" y="414"/>
                </a:lnTo>
                <a:lnTo>
                  <a:pt x="1480" y="414"/>
                </a:lnTo>
                <a:lnTo>
                  <a:pt x="1480" y="554"/>
                </a:lnTo>
                <a:close/>
                <a:moveTo>
                  <a:pt x="790" y="257"/>
                </a:moveTo>
                <a:lnTo>
                  <a:pt x="790" y="255"/>
                </a:lnTo>
                <a:lnTo>
                  <a:pt x="790" y="255"/>
                </a:lnTo>
                <a:lnTo>
                  <a:pt x="813" y="250"/>
                </a:lnTo>
                <a:lnTo>
                  <a:pt x="834" y="243"/>
                </a:lnTo>
                <a:lnTo>
                  <a:pt x="856" y="232"/>
                </a:lnTo>
                <a:lnTo>
                  <a:pt x="876" y="220"/>
                </a:lnTo>
                <a:lnTo>
                  <a:pt x="884" y="213"/>
                </a:lnTo>
                <a:lnTo>
                  <a:pt x="893" y="204"/>
                </a:lnTo>
                <a:lnTo>
                  <a:pt x="900" y="194"/>
                </a:lnTo>
                <a:lnTo>
                  <a:pt x="907" y="185"/>
                </a:lnTo>
                <a:lnTo>
                  <a:pt x="910" y="173"/>
                </a:lnTo>
                <a:lnTo>
                  <a:pt x="916" y="162"/>
                </a:lnTo>
                <a:lnTo>
                  <a:pt x="917" y="150"/>
                </a:lnTo>
                <a:lnTo>
                  <a:pt x="917" y="136"/>
                </a:lnTo>
                <a:lnTo>
                  <a:pt x="917" y="136"/>
                </a:lnTo>
                <a:lnTo>
                  <a:pt x="917" y="121"/>
                </a:lnTo>
                <a:lnTo>
                  <a:pt x="914" y="105"/>
                </a:lnTo>
                <a:lnTo>
                  <a:pt x="910" y="93"/>
                </a:lnTo>
                <a:lnTo>
                  <a:pt x="905" y="80"/>
                </a:lnTo>
                <a:lnTo>
                  <a:pt x="898" y="68"/>
                </a:lnTo>
                <a:lnTo>
                  <a:pt x="888" y="58"/>
                </a:lnTo>
                <a:lnTo>
                  <a:pt x="877" y="49"/>
                </a:lnTo>
                <a:lnTo>
                  <a:pt x="867" y="42"/>
                </a:lnTo>
                <a:lnTo>
                  <a:pt x="853" y="35"/>
                </a:lnTo>
                <a:lnTo>
                  <a:pt x="839" y="28"/>
                </a:lnTo>
                <a:lnTo>
                  <a:pt x="821" y="24"/>
                </a:lnTo>
                <a:lnTo>
                  <a:pt x="804" y="19"/>
                </a:lnTo>
                <a:lnTo>
                  <a:pt x="786" y="17"/>
                </a:lnTo>
                <a:lnTo>
                  <a:pt x="765" y="16"/>
                </a:lnTo>
                <a:lnTo>
                  <a:pt x="722" y="14"/>
                </a:lnTo>
                <a:lnTo>
                  <a:pt x="477" y="14"/>
                </a:lnTo>
                <a:lnTo>
                  <a:pt x="477" y="40"/>
                </a:lnTo>
                <a:lnTo>
                  <a:pt x="477" y="40"/>
                </a:lnTo>
                <a:lnTo>
                  <a:pt x="496" y="42"/>
                </a:lnTo>
                <a:lnTo>
                  <a:pt x="512" y="45"/>
                </a:lnTo>
                <a:lnTo>
                  <a:pt x="524" y="51"/>
                </a:lnTo>
                <a:lnTo>
                  <a:pt x="530" y="54"/>
                </a:lnTo>
                <a:lnTo>
                  <a:pt x="533" y="58"/>
                </a:lnTo>
                <a:lnTo>
                  <a:pt x="537" y="65"/>
                </a:lnTo>
                <a:lnTo>
                  <a:pt x="540" y="70"/>
                </a:lnTo>
                <a:lnTo>
                  <a:pt x="542" y="87"/>
                </a:lnTo>
                <a:lnTo>
                  <a:pt x="543" y="110"/>
                </a:lnTo>
                <a:lnTo>
                  <a:pt x="545" y="140"/>
                </a:lnTo>
                <a:lnTo>
                  <a:pt x="543" y="554"/>
                </a:lnTo>
                <a:lnTo>
                  <a:pt x="701" y="554"/>
                </a:lnTo>
                <a:lnTo>
                  <a:pt x="701" y="554"/>
                </a:lnTo>
                <a:lnTo>
                  <a:pt x="750" y="552"/>
                </a:lnTo>
                <a:lnTo>
                  <a:pt x="774" y="550"/>
                </a:lnTo>
                <a:lnTo>
                  <a:pt x="797" y="547"/>
                </a:lnTo>
                <a:lnTo>
                  <a:pt x="818" y="542"/>
                </a:lnTo>
                <a:lnTo>
                  <a:pt x="839" y="536"/>
                </a:lnTo>
                <a:lnTo>
                  <a:pt x="856" y="529"/>
                </a:lnTo>
                <a:lnTo>
                  <a:pt x="874" y="521"/>
                </a:lnTo>
                <a:lnTo>
                  <a:pt x="874" y="521"/>
                </a:lnTo>
                <a:lnTo>
                  <a:pt x="891" y="510"/>
                </a:lnTo>
                <a:lnTo>
                  <a:pt x="905" y="500"/>
                </a:lnTo>
                <a:lnTo>
                  <a:pt x="919" y="486"/>
                </a:lnTo>
                <a:lnTo>
                  <a:pt x="930" y="472"/>
                </a:lnTo>
                <a:lnTo>
                  <a:pt x="940" y="454"/>
                </a:lnTo>
                <a:lnTo>
                  <a:pt x="945" y="437"/>
                </a:lnTo>
                <a:lnTo>
                  <a:pt x="951" y="418"/>
                </a:lnTo>
                <a:lnTo>
                  <a:pt x="952" y="395"/>
                </a:lnTo>
                <a:lnTo>
                  <a:pt x="952" y="395"/>
                </a:lnTo>
                <a:lnTo>
                  <a:pt x="951" y="381"/>
                </a:lnTo>
                <a:lnTo>
                  <a:pt x="949" y="365"/>
                </a:lnTo>
                <a:lnTo>
                  <a:pt x="945" y="353"/>
                </a:lnTo>
                <a:lnTo>
                  <a:pt x="940" y="341"/>
                </a:lnTo>
                <a:lnTo>
                  <a:pt x="933" y="328"/>
                </a:lnTo>
                <a:lnTo>
                  <a:pt x="924" y="318"/>
                </a:lnTo>
                <a:lnTo>
                  <a:pt x="916" y="307"/>
                </a:lnTo>
                <a:lnTo>
                  <a:pt x="905" y="299"/>
                </a:lnTo>
                <a:lnTo>
                  <a:pt x="895" y="290"/>
                </a:lnTo>
                <a:lnTo>
                  <a:pt x="883" y="283"/>
                </a:lnTo>
                <a:lnTo>
                  <a:pt x="869" y="276"/>
                </a:lnTo>
                <a:lnTo>
                  <a:pt x="855" y="271"/>
                </a:lnTo>
                <a:lnTo>
                  <a:pt x="823" y="262"/>
                </a:lnTo>
                <a:lnTo>
                  <a:pt x="790" y="257"/>
                </a:lnTo>
                <a:lnTo>
                  <a:pt x="790" y="257"/>
                </a:lnTo>
                <a:close/>
                <a:moveTo>
                  <a:pt x="655" y="98"/>
                </a:moveTo>
                <a:lnTo>
                  <a:pt x="655" y="98"/>
                </a:lnTo>
                <a:lnTo>
                  <a:pt x="657" y="68"/>
                </a:lnTo>
                <a:lnTo>
                  <a:pt x="659" y="59"/>
                </a:lnTo>
                <a:lnTo>
                  <a:pt x="661" y="54"/>
                </a:lnTo>
                <a:lnTo>
                  <a:pt x="661" y="54"/>
                </a:lnTo>
                <a:lnTo>
                  <a:pt x="666" y="52"/>
                </a:lnTo>
                <a:lnTo>
                  <a:pt x="675" y="51"/>
                </a:lnTo>
                <a:lnTo>
                  <a:pt x="697" y="49"/>
                </a:lnTo>
                <a:lnTo>
                  <a:pt x="697" y="49"/>
                </a:lnTo>
                <a:lnTo>
                  <a:pt x="717" y="51"/>
                </a:lnTo>
                <a:lnTo>
                  <a:pt x="734" y="54"/>
                </a:lnTo>
                <a:lnTo>
                  <a:pt x="751" y="59"/>
                </a:lnTo>
                <a:lnTo>
                  <a:pt x="765" y="70"/>
                </a:lnTo>
                <a:lnTo>
                  <a:pt x="772" y="75"/>
                </a:lnTo>
                <a:lnTo>
                  <a:pt x="779" y="82"/>
                </a:lnTo>
                <a:lnTo>
                  <a:pt x="785" y="91"/>
                </a:lnTo>
                <a:lnTo>
                  <a:pt x="790" y="100"/>
                </a:lnTo>
                <a:lnTo>
                  <a:pt x="793" y="110"/>
                </a:lnTo>
                <a:lnTo>
                  <a:pt x="797" y="122"/>
                </a:lnTo>
                <a:lnTo>
                  <a:pt x="799" y="135"/>
                </a:lnTo>
                <a:lnTo>
                  <a:pt x="799" y="148"/>
                </a:lnTo>
                <a:lnTo>
                  <a:pt x="799" y="148"/>
                </a:lnTo>
                <a:lnTo>
                  <a:pt x="799" y="161"/>
                </a:lnTo>
                <a:lnTo>
                  <a:pt x="797" y="173"/>
                </a:lnTo>
                <a:lnTo>
                  <a:pt x="793" y="183"/>
                </a:lnTo>
                <a:lnTo>
                  <a:pt x="790" y="192"/>
                </a:lnTo>
                <a:lnTo>
                  <a:pt x="786" y="201"/>
                </a:lnTo>
                <a:lnTo>
                  <a:pt x="781" y="210"/>
                </a:lnTo>
                <a:lnTo>
                  <a:pt x="774" y="217"/>
                </a:lnTo>
                <a:lnTo>
                  <a:pt x="767" y="224"/>
                </a:lnTo>
                <a:lnTo>
                  <a:pt x="758" y="229"/>
                </a:lnTo>
                <a:lnTo>
                  <a:pt x="750" y="234"/>
                </a:lnTo>
                <a:lnTo>
                  <a:pt x="729" y="241"/>
                </a:lnTo>
                <a:lnTo>
                  <a:pt x="704" y="246"/>
                </a:lnTo>
                <a:lnTo>
                  <a:pt x="676" y="248"/>
                </a:lnTo>
                <a:lnTo>
                  <a:pt x="655" y="248"/>
                </a:lnTo>
                <a:lnTo>
                  <a:pt x="655" y="98"/>
                </a:lnTo>
                <a:close/>
                <a:moveTo>
                  <a:pt x="715" y="519"/>
                </a:moveTo>
                <a:lnTo>
                  <a:pt x="715" y="519"/>
                </a:lnTo>
                <a:lnTo>
                  <a:pt x="699" y="517"/>
                </a:lnTo>
                <a:lnTo>
                  <a:pt x="685" y="515"/>
                </a:lnTo>
                <a:lnTo>
                  <a:pt x="675" y="508"/>
                </a:lnTo>
                <a:lnTo>
                  <a:pt x="668" y="500"/>
                </a:lnTo>
                <a:lnTo>
                  <a:pt x="661" y="487"/>
                </a:lnTo>
                <a:lnTo>
                  <a:pt x="657" y="472"/>
                </a:lnTo>
                <a:lnTo>
                  <a:pt x="655" y="449"/>
                </a:lnTo>
                <a:lnTo>
                  <a:pt x="655" y="423"/>
                </a:lnTo>
                <a:lnTo>
                  <a:pt x="655" y="281"/>
                </a:lnTo>
                <a:lnTo>
                  <a:pt x="673" y="281"/>
                </a:lnTo>
                <a:lnTo>
                  <a:pt x="673" y="281"/>
                </a:lnTo>
                <a:lnTo>
                  <a:pt x="706" y="283"/>
                </a:lnTo>
                <a:lnTo>
                  <a:pt x="720" y="286"/>
                </a:lnTo>
                <a:lnTo>
                  <a:pt x="736" y="288"/>
                </a:lnTo>
                <a:lnTo>
                  <a:pt x="748" y="293"/>
                </a:lnTo>
                <a:lnTo>
                  <a:pt x="762" y="299"/>
                </a:lnTo>
                <a:lnTo>
                  <a:pt x="772" y="304"/>
                </a:lnTo>
                <a:lnTo>
                  <a:pt x="783" y="311"/>
                </a:lnTo>
                <a:lnTo>
                  <a:pt x="793" y="320"/>
                </a:lnTo>
                <a:lnTo>
                  <a:pt x="800" y="328"/>
                </a:lnTo>
                <a:lnTo>
                  <a:pt x="807" y="337"/>
                </a:lnTo>
                <a:lnTo>
                  <a:pt x="814" y="349"/>
                </a:lnTo>
                <a:lnTo>
                  <a:pt x="820" y="362"/>
                </a:lnTo>
                <a:lnTo>
                  <a:pt x="823" y="374"/>
                </a:lnTo>
                <a:lnTo>
                  <a:pt x="825" y="388"/>
                </a:lnTo>
                <a:lnTo>
                  <a:pt x="825" y="404"/>
                </a:lnTo>
                <a:lnTo>
                  <a:pt x="825" y="404"/>
                </a:lnTo>
                <a:lnTo>
                  <a:pt x="825" y="419"/>
                </a:lnTo>
                <a:lnTo>
                  <a:pt x="823" y="433"/>
                </a:lnTo>
                <a:lnTo>
                  <a:pt x="820" y="445"/>
                </a:lnTo>
                <a:lnTo>
                  <a:pt x="814" y="458"/>
                </a:lnTo>
                <a:lnTo>
                  <a:pt x="809" y="468"/>
                </a:lnTo>
                <a:lnTo>
                  <a:pt x="804" y="477"/>
                </a:lnTo>
                <a:lnTo>
                  <a:pt x="797" y="486"/>
                </a:lnTo>
                <a:lnTo>
                  <a:pt x="790" y="493"/>
                </a:lnTo>
                <a:lnTo>
                  <a:pt x="781" y="500"/>
                </a:lnTo>
                <a:lnTo>
                  <a:pt x="772" y="505"/>
                </a:lnTo>
                <a:lnTo>
                  <a:pt x="753" y="512"/>
                </a:lnTo>
                <a:lnTo>
                  <a:pt x="734" y="517"/>
                </a:lnTo>
                <a:lnTo>
                  <a:pt x="715" y="519"/>
                </a:lnTo>
                <a:lnTo>
                  <a:pt x="715" y="519"/>
                </a:lnTo>
                <a:close/>
                <a:moveTo>
                  <a:pt x="1216" y="231"/>
                </a:moveTo>
                <a:lnTo>
                  <a:pt x="1188" y="220"/>
                </a:lnTo>
                <a:lnTo>
                  <a:pt x="1188" y="220"/>
                </a:lnTo>
                <a:lnTo>
                  <a:pt x="1166" y="210"/>
                </a:lnTo>
                <a:lnTo>
                  <a:pt x="1146" y="199"/>
                </a:lnTo>
                <a:lnTo>
                  <a:pt x="1131" y="189"/>
                </a:lnTo>
                <a:lnTo>
                  <a:pt x="1117" y="176"/>
                </a:lnTo>
                <a:lnTo>
                  <a:pt x="1106" y="164"/>
                </a:lnTo>
                <a:lnTo>
                  <a:pt x="1097" y="150"/>
                </a:lnTo>
                <a:lnTo>
                  <a:pt x="1094" y="136"/>
                </a:lnTo>
                <a:lnTo>
                  <a:pt x="1092" y="121"/>
                </a:lnTo>
                <a:lnTo>
                  <a:pt x="1092" y="121"/>
                </a:lnTo>
                <a:lnTo>
                  <a:pt x="1094" y="105"/>
                </a:lnTo>
                <a:lnTo>
                  <a:pt x="1097" y="89"/>
                </a:lnTo>
                <a:lnTo>
                  <a:pt x="1104" y="75"/>
                </a:lnTo>
                <a:lnTo>
                  <a:pt x="1115" y="63"/>
                </a:lnTo>
                <a:lnTo>
                  <a:pt x="1127" y="52"/>
                </a:lnTo>
                <a:lnTo>
                  <a:pt x="1141" y="45"/>
                </a:lnTo>
                <a:lnTo>
                  <a:pt x="1159" y="40"/>
                </a:lnTo>
                <a:lnTo>
                  <a:pt x="1178" y="38"/>
                </a:lnTo>
                <a:lnTo>
                  <a:pt x="1178" y="38"/>
                </a:lnTo>
                <a:lnTo>
                  <a:pt x="1192" y="38"/>
                </a:lnTo>
                <a:lnTo>
                  <a:pt x="1204" y="40"/>
                </a:lnTo>
                <a:lnTo>
                  <a:pt x="1215" y="44"/>
                </a:lnTo>
                <a:lnTo>
                  <a:pt x="1225" y="49"/>
                </a:lnTo>
                <a:lnTo>
                  <a:pt x="1236" y="54"/>
                </a:lnTo>
                <a:lnTo>
                  <a:pt x="1244" y="59"/>
                </a:lnTo>
                <a:lnTo>
                  <a:pt x="1260" y="73"/>
                </a:lnTo>
                <a:lnTo>
                  <a:pt x="1272" y="91"/>
                </a:lnTo>
                <a:lnTo>
                  <a:pt x="1281" y="108"/>
                </a:lnTo>
                <a:lnTo>
                  <a:pt x="1290" y="128"/>
                </a:lnTo>
                <a:lnTo>
                  <a:pt x="1297" y="147"/>
                </a:lnTo>
                <a:lnTo>
                  <a:pt x="1330" y="140"/>
                </a:lnTo>
                <a:lnTo>
                  <a:pt x="1330" y="140"/>
                </a:lnTo>
                <a:lnTo>
                  <a:pt x="1318" y="75"/>
                </a:lnTo>
                <a:lnTo>
                  <a:pt x="1311" y="23"/>
                </a:lnTo>
                <a:lnTo>
                  <a:pt x="1311" y="23"/>
                </a:lnTo>
                <a:lnTo>
                  <a:pt x="1272" y="12"/>
                </a:lnTo>
                <a:lnTo>
                  <a:pt x="1272" y="12"/>
                </a:lnTo>
                <a:lnTo>
                  <a:pt x="1253" y="7"/>
                </a:lnTo>
                <a:lnTo>
                  <a:pt x="1232" y="3"/>
                </a:lnTo>
                <a:lnTo>
                  <a:pt x="1211" y="2"/>
                </a:lnTo>
                <a:lnTo>
                  <a:pt x="1192" y="0"/>
                </a:lnTo>
                <a:lnTo>
                  <a:pt x="1192" y="0"/>
                </a:lnTo>
                <a:lnTo>
                  <a:pt x="1169" y="2"/>
                </a:lnTo>
                <a:lnTo>
                  <a:pt x="1148" y="3"/>
                </a:lnTo>
                <a:lnTo>
                  <a:pt x="1127" y="9"/>
                </a:lnTo>
                <a:lnTo>
                  <a:pt x="1108" y="14"/>
                </a:lnTo>
                <a:lnTo>
                  <a:pt x="1090" y="21"/>
                </a:lnTo>
                <a:lnTo>
                  <a:pt x="1075" y="30"/>
                </a:lnTo>
                <a:lnTo>
                  <a:pt x="1061" y="38"/>
                </a:lnTo>
                <a:lnTo>
                  <a:pt x="1047" y="49"/>
                </a:lnTo>
                <a:lnTo>
                  <a:pt x="1035" y="61"/>
                </a:lnTo>
                <a:lnTo>
                  <a:pt x="1024" y="73"/>
                </a:lnTo>
                <a:lnTo>
                  <a:pt x="1015" y="87"/>
                </a:lnTo>
                <a:lnTo>
                  <a:pt x="1008" y="101"/>
                </a:lnTo>
                <a:lnTo>
                  <a:pt x="1001" y="115"/>
                </a:lnTo>
                <a:lnTo>
                  <a:pt x="998" y="131"/>
                </a:lnTo>
                <a:lnTo>
                  <a:pt x="996" y="147"/>
                </a:lnTo>
                <a:lnTo>
                  <a:pt x="994" y="164"/>
                </a:lnTo>
                <a:lnTo>
                  <a:pt x="994" y="164"/>
                </a:lnTo>
                <a:lnTo>
                  <a:pt x="996" y="178"/>
                </a:lnTo>
                <a:lnTo>
                  <a:pt x="998" y="192"/>
                </a:lnTo>
                <a:lnTo>
                  <a:pt x="1001" y="204"/>
                </a:lnTo>
                <a:lnTo>
                  <a:pt x="1005" y="218"/>
                </a:lnTo>
                <a:lnTo>
                  <a:pt x="1012" y="229"/>
                </a:lnTo>
                <a:lnTo>
                  <a:pt x="1019" y="241"/>
                </a:lnTo>
                <a:lnTo>
                  <a:pt x="1026" y="252"/>
                </a:lnTo>
                <a:lnTo>
                  <a:pt x="1035" y="260"/>
                </a:lnTo>
                <a:lnTo>
                  <a:pt x="1056" y="280"/>
                </a:lnTo>
                <a:lnTo>
                  <a:pt x="1078" y="295"/>
                </a:lnTo>
                <a:lnTo>
                  <a:pt x="1104" y="309"/>
                </a:lnTo>
                <a:lnTo>
                  <a:pt x="1132" y="321"/>
                </a:lnTo>
                <a:lnTo>
                  <a:pt x="1150" y="330"/>
                </a:lnTo>
                <a:lnTo>
                  <a:pt x="1150" y="330"/>
                </a:lnTo>
                <a:lnTo>
                  <a:pt x="1173" y="339"/>
                </a:lnTo>
                <a:lnTo>
                  <a:pt x="1194" y="351"/>
                </a:lnTo>
                <a:lnTo>
                  <a:pt x="1211" y="362"/>
                </a:lnTo>
                <a:lnTo>
                  <a:pt x="1225" y="374"/>
                </a:lnTo>
                <a:lnTo>
                  <a:pt x="1236" y="388"/>
                </a:lnTo>
                <a:lnTo>
                  <a:pt x="1244" y="404"/>
                </a:lnTo>
                <a:lnTo>
                  <a:pt x="1248" y="421"/>
                </a:lnTo>
                <a:lnTo>
                  <a:pt x="1250" y="440"/>
                </a:lnTo>
                <a:lnTo>
                  <a:pt x="1250" y="440"/>
                </a:lnTo>
                <a:lnTo>
                  <a:pt x="1248" y="458"/>
                </a:lnTo>
                <a:lnTo>
                  <a:pt x="1244" y="475"/>
                </a:lnTo>
                <a:lnTo>
                  <a:pt x="1236" y="489"/>
                </a:lnTo>
                <a:lnTo>
                  <a:pt x="1225" y="503"/>
                </a:lnTo>
                <a:lnTo>
                  <a:pt x="1213" y="514"/>
                </a:lnTo>
                <a:lnTo>
                  <a:pt x="1197" y="522"/>
                </a:lnTo>
                <a:lnTo>
                  <a:pt x="1180" y="528"/>
                </a:lnTo>
                <a:lnTo>
                  <a:pt x="1159" y="529"/>
                </a:lnTo>
                <a:lnTo>
                  <a:pt x="1159" y="529"/>
                </a:lnTo>
                <a:lnTo>
                  <a:pt x="1145" y="528"/>
                </a:lnTo>
                <a:lnTo>
                  <a:pt x="1131" y="526"/>
                </a:lnTo>
                <a:lnTo>
                  <a:pt x="1117" y="522"/>
                </a:lnTo>
                <a:lnTo>
                  <a:pt x="1104" y="517"/>
                </a:lnTo>
                <a:lnTo>
                  <a:pt x="1092" y="510"/>
                </a:lnTo>
                <a:lnTo>
                  <a:pt x="1082" y="503"/>
                </a:lnTo>
                <a:lnTo>
                  <a:pt x="1063" y="487"/>
                </a:lnTo>
                <a:lnTo>
                  <a:pt x="1045" y="468"/>
                </a:lnTo>
                <a:lnTo>
                  <a:pt x="1031" y="449"/>
                </a:lnTo>
                <a:lnTo>
                  <a:pt x="1021" y="430"/>
                </a:lnTo>
                <a:lnTo>
                  <a:pt x="1012" y="412"/>
                </a:lnTo>
                <a:lnTo>
                  <a:pt x="1012" y="412"/>
                </a:lnTo>
                <a:lnTo>
                  <a:pt x="1012" y="412"/>
                </a:lnTo>
                <a:lnTo>
                  <a:pt x="1012" y="412"/>
                </a:lnTo>
                <a:lnTo>
                  <a:pt x="1012" y="428"/>
                </a:lnTo>
                <a:lnTo>
                  <a:pt x="1010" y="444"/>
                </a:lnTo>
                <a:lnTo>
                  <a:pt x="1007" y="458"/>
                </a:lnTo>
                <a:lnTo>
                  <a:pt x="1003" y="472"/>
                </a:lnTo>
                <a:lnTo>
                  <a:pt x="996" y="484"/>
                </a:lnTo>
                <a:lnTo>
                  <a:pt x="991" y="496"/>
                </a:lnTo>
                <a:lnTo>
                  <a:pt x="982" y="507"/>
                </a:lnTo>
                <a:lnTo>
                  <a:pt x="975" y="517"/>
                </a:lnTo>
                <a:lnTo>
                  <a:pt x="975" y="517"/>
                </a:lnTo>
                <a:lnTo>
                  <a:pt x="982" y="522"/>
                </a:lnTo>
                <a:lnTo>
                  <a:pt x="996" y="529"/>
                </a:lnTo>
                <a:lnTo>
                  <a:pt x="996" y="529"/>
                </a:lnTo>
                <a:lnTo>
                  <a:pt x="1019" y="540"/>
                </a:lnTo>
                <a:lnTo>
                  <a:pt x="1054" y="554"/>
                </a:lnTo>
                <a:lnTo>
                  <a:pt x="1054" y="554"/>
                </a:lnTo>
                <a:lnTo>
                  <a:pt x="1073" y="559"/>
                </a:lnTo>
                <a:lnTo>
                  <a:pt x="1096" y="563"/>
                </a:lnTo>
                <a:lnTo>
                  <a:pt x="1118" y="566"/>
                </a:lnTo>
                <a:lnTo>
                  <a:pt x="1143" y="566"/>
                </a:lnTo>
                <a:lnTo>
                  <a:pt x="1143" y="566"/>
                </a:lnTo>
                <a:lnTo>
                  <a:pt x="1167" y="566"/>
                </a:lnTo>
                <a:lnTo>
                  <a:pt x="1188" y="563"/>
                </a:lnTo>
                <a:lnTo>
                  <a:pt x="1209" y="559"/>
                </a:lnTo>
                <a:lnTo>
                  <a:pt x="1230" y="554"/>
                </a:lnTo>
                <a:lnTo>
                  <a:pt x="1248" y="547"/>
                </a:lnTo>
                <a:lnTo>
                  <a:pt x="1265" y="538"/>
                </a:lnTo>
                <a:lnTo>
                  <a:pt x="1281" y="528"/>
                </a:lnTo>
                <a:lnTo>
                  <a:pt x="1297" y="517"/>
                </a:lnTo>
                <a:lnTo>
                  <a:pt x="1309" y="505"/>
                </a:lnTo>
                <a:lnTo>
                  <a:pt x="1321" y="491"/>
                </a:lnTo>
                <a:lnTo>
                  <a:pt x="1330" y="477"/>
                </a:lnTo>
                <a:lnTo>
                  <a:pt x="1339" y="461"/>
                </a:lnTo>
                <a:lnTo>
                  <a:pt x="1344" y="445"/>
                </a:lnTo>
                <a:lnTo>
                  <a:pt x="1349" y="430"/>
                </a:lnTo>
                <a:lnTo>
                  <a:pt x="1353" y="412"/>
                </a:lnTo>
                <a:lnTo>
                  <a:pt x="1353" y="393"/>
                </a:lnTo>
                <a:lnTo>
                  <a:pt x="1353" y="393"/>
                </a:lnTo>
                <a:lnTo>
                  <a:pt x="1353" y="377"/>
                </a:lnTo>
                <a:lnTo>
                  <a:pt x="1351" y="362"/>
                </a:lnTo>
                <a:lnTo>
                  <a:pt x="1347" y="348"/>
                </a:lnTo>
                <a:lnTo>
                  <a:pt x="1342" y="334"/>
                </a:lnTo>
                <a:lnTo>
                  <a:pt x="1335" y="321"/>
                </a:lnTo>
                <a:lnTo>
                  <a:pt x="1328" y="309"/>
                </a:lnTo>
                <a:lnTo>
                  <a:pt x="1321" y="299"/>
                </a:lnTo>
                <a:lnTo>
                  <a:pt x="1311" y="290"/>
                </a:lnTo>
                <a:lnTo>
                  <a:pt x="1291" y="271"/>
                </a:lnTo>
                <a:lnTo>
                  <a:pt x="1269" y="255"/>
                </a:lnTo>
                <a:lnTo>
                  <a:pt x="1243" y="243"/>
                </a:lnTo>
                <a:lnTo>
                  <a:pt x="1216" y="231"/>
                </a:lnTo>
                <a:lnTo>
                  <a:pt x="1216" y="231"/>
                </a:lnTo>
                <a:close/>
                <a:moveTo>
                  <a:pt x="402" y="491"/>
                </a:moveTo>
                <a:lnTo>
                  <a:pt x="402" y="491"/>
                </a:lnTo>
                <a:lnTo>
                  <a:pt x="393" y="498"/>
                </a:lnTo>
                <a:lnTo>
                  <a:pt x="383" y="503"/>
                </a:lnTo>
                <a:lnTo>
                  <a:pt x="370" y="508"/>
                </a:lnTo>
                <a:lnTo>
                  <a:pt x="357" y="512"/>
                </a:lnTo>
                <a:lnTo>
                  <a:pt x="325" y="515"/>
                </a:lnTo>
                <a:lnTo>
                  <a:pt x="294" y="517"/>
                </a:lnTo>
                <a:lnTo>
                  <a:pt x="294" y="517"/>
                </a:lnTo>
                <a:lnTo>
                  <a:pt x="248" y="515"/>
                </a:lnTo>
                <a:lnTo>
                  <a:pt x="231" y="514"/>
                </a:lnTo>
                <a:lnTo>
                  <a:pt x="218" y="510"/>
                </a:lnTo>
                <a:lnTo>
                  <a:pt x="218" y="510"/>
                </a:lnTo>
                <a:lnTo>
                  <a:pt x="211" y="507"/>
                </a:lnTo>
                <a:lnTo>
                  <a:pt x="206" y="501"/>
                </a:lnTo>
                <a:lnTo>
                  <a:pt x="203" y="494"/>
                </a:lnTo>
                <a:lnTo>
                  <a:pt x="199" y="486"/>
                </a:lnTo>
                <a:lnTo>
                  <a:pt x="197" y="475"/>
                </a:lnTo>
                <a:lnTo>
                  <a:pt x="197" y="461"/>
                </a:lnTo>
                <a:lnTo>
                  <a:pt x="196" y="423"/>
                </a:lnTo>
                <a:lnTo>
                  <a:pt x="196" y="293"/>
                </a:lnTo>
                <a:lnTo>
                  <a:pt x="260" y="293"/>
                </a:lnTo>
                <a:lnTo>
                  <a:pt x="260" y="293"/>
                </a:lnTo>
                <a:lnTo>
                  <a:pt x="285" y="293"/>
                </a:lnTo>
                <a:lnTo>
                  <a:pt x="306" y="295"/>
                </a:lnTo>
                <a:lnTo>
                  <a:pt x="320" y="297"/>
                </a:lnTo>
                <a:lnTo>
                  <a:pt x="330" y="302"/>
                </a:lnTo>
                <a:lnTo>
                  <a:pt x="334" y="307"/>
                </a:lnTo>
                <a:lnTo>
                  <a:pt x="337" y="311"/>
                </a:lnTo>
                <a:lnTo>
                  <a:pt x="341" y="323"/>
                </a:lnTo>
                <a:lnTo>
                  <a:pt x="344" y="341"/>
                </a:lnTo>
                <a:lnTo>
                  <a:pt x="348" y="363"/>
                </a:lnTo>
                <a:lnTo>
                  <a:pt x="379" y="363"/>
                </a:lnTo>
                <a:lnTo>
                  <a:pt x="379" y="180"/>
                </a:lnTo>
                <a:lnTo>
                  <a:pt x="348" y="180"/>
                </a:lnTo>
                <a:lnTo>
                  <a:pt x="348" y="180"/>
                </a:lnTo>
                <a:lnTo>
                  <a:pt x="344" y="203"/>
                </a:lnTo>
                <a:lnTo>
                  <a:pt x="341" y="218"/>
                </a:lnTo>
                <a:lnTo>
                  <a:pt x="337" y="231"/>
                </a:lnTo>
                <a:lnTo>
                  <a:pt x="334" y="236"/>
                </a:lnTo>
                <a:lnTo>
                  <a:pt x="330" y="239"/>
                </a:lnTo>
                <a:lnTo>
                  <a:pt x="320" y="246"/>
                </a:lnTo>
                <a:lnTo>
                  <a:pt x="306" y="248"/>
                </a:lnTo>
                <a:lnTo>
                  <a:pt x="285" y="250"/>
                </a:lnTo>
                <a:lnTo>
                  <a:pt x="260" y="250"/>
                </a:lnTo>
                <a:lnTo>
                  <a:pt x="196" y="250"/>
                </a:lnTo>
                <a:lnTo>
                  <a:pt x="196" y="80"/>
                </a:lnTo>
                <a:lnTo>
                  <a:pt x="196" y="80"/>
                </a:lnTo>
                <a:lnTo>
                  <a:pt x="196" y="63"/>
                </a:lnTo>
                <a:lnTo>
                  <a:pt x="197" y="58"/>
                </a:lnTo>
                <a:lnTo>
                  <a:pt x="201" y="54"/>
                </a:lnTo>
                <a:lnTo>
                  <a:pt x="204" y="52"/>
                </a:lnTo>
                <a:lnTo>
                  <a:pt x="211" y="51"/>
                </a:lnTo>
                <a:lnTo>
                  <a:pt x="231" y="51"/>
                </a:lnTo>
                <a:lnTo>
                  <a:pt x="266" y="51"/>
                </a:lnTo>
                <a:lnTo>
                  <a:pt x="266" y="51"/>
                </a:lnTo>
                <a:lnTo>
                  <a:pt x="301" y="52"/>
                </a:lnTo>
                <a:lnTo>
                  <a:pt x="329" y="54"/>
                </a:lnTo>
                <a:lnTo>
                  <a:pt x="339" y="58"/>
                </a:lnTo>
                <a:lnTo>
                  <a:pt x="348" y="61"/>
                </a:lnTo>
                <a:lnTo>
                  <a:pt x="355" y="65"/>
                </a:lnTo>
                <a:lnTo>
                  <a:pt x="362" y="70"/>
                </a:lnTo>
                <a:lnTo>
                  <a:pt x="362" y="70"/>
                </a:lnTo>
                <a:lnTo>
                  <a:pt x="370" y="82"/>
                </a:lnTo>
                <a:lnTo>
                  <a:pt x="379" y="98"/>
                </a:lnTo>
                <a:lnTo>
                  <a:pt x="388" y="119"/>
                </a:lnTo>
                <a:lnTo>
                  <a:pt x="393" y="145"/>
                </a:lnTo>
                <a:lnTo>
                  <a:pt x="426" y="143"/>
                </a:lnTo>
                <a:lnTo>
                  <a:pt x="426" y="143"/>
                </a:lnTo>
                <a:lnTo>
                  <a:pt x="416" y="14"/>
                </a:lnTo>
                <a:lnTo>
                  <a:pt x="0" y="14"/>
                </a:lnTo>
                <a:lnTo>
                  <a:pt x="0" y="40"/>
                </a:lnTo>
                <a:lnTo>
                  <a:pt x="0" y="40"/>
                </a:lnTo>
                <a:lnTo>
                  <a:pt x="23" y="42"/>
                </a:lnTo>
                <a:lnTo>
                  <a:pt x="40" y="45"/>
                </a:lnTo>
                <a:lnTo>
                  <a:pt x="54" y="51"/>
                </a:lnTo>
                <a:lnTo>
                  <a:pt x="59" y="54"/>
                </a:lnTo>
                <a:lnTo>
                  <a:pt x="65" y="58"/>
                </a:lnTo>
                <a:lnTo>
                  <a:pt x="68" y="65"/>
                </a:lnTo>
                <a:lnTo>
                  <a:pt x="72" y="70"/>
                </a:lnTo>
                <a:lnTo>
                  <a:pt x="77" y="87"/>
                </a:lnTo>
                <a:lnTo>
                  <a:pt x="80" y="110"/>
                </a:lnTo>
                <a:lnTo>
                  <a:pt x="80" y="140"/>
                </a:lnTo>
                <a:lnTo>
                  <a:pt x="80" y="426"/>
                </a:lnTo>
                <a:lnTo>
                  <a:pt x="80" y="426"/>
                </a:lnTo>
                <a:lnTo>
                  <a:pt x="80" y="456"/>
                </a:lnTo>
                <a:lnTo>
                  <a:pt x="79" y="480"/>
                </a:lnTo>
                <a:lnTo>
                  <a:pt x="75" y="496"/>
                </a:lnTo>
                <a:lnTo>
                  <a:pt x="72" y="503"/>
                </a:lnTo>
                <a:lnTo>
                  <a:pt x="68" y="508"/>
                </a:lnTo>
                <a:lnTo>
                  <a:pt x="63" y="514"/>
                </a:lnTo>
                <a:lnTo>
                  <a:pt x="58" y="517"/>
                </a:lnTo>
                <a:lnTo>
                  <a:pt x="44" y="522"/>
                </a:lnTo>
                <a:lnTo>
                  <a:pt x="24" y="526"/>
                </a:lnTo>
                <a:lnTo>
                  <a:pt x="2" y="528"/>
                </a:lnTo>
                <a:lnTo>
                  <a:pt x="2" y="554"/>
                </a:lnTo>
                <a:lnTo>
                  <a:pt x="468" y="554"/>
                </a:lnTo>
                <a:lnTo>
                  <a:pt x="468" y="414"/>
                </a:lnTo>
                <a:lnTo>
                  <a:pt x="446" y="409"/>
                </a:lnTo>
                <a:lnTo>
                  <a:pt x="446" y="409"/>
                </a:lnTo>
                <a:lnTo>
                  <a:pt x="435" y="437"/>
                </a:lnTo>
                <a:lnTo>
                  <a:pt x="425" y="459"/>
                </a:lnTo>
                <a:lnTo>
                  <a:pt x="414" y="479"/>
                </a:lnTo>
                <a:lnTo>
                  <a:pt x="402" y="491"/>
                </a:lnTo>
                <a:lnTo>
                  <a:pt x="402" y="49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06101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hteck 24">
            <a:extLst>
              <a:ext uri="{FF2B5EF4-FFF2-40B4-BE49-F238E27FC236}">
                <a16:creationId xmlns:a16="http://schemas.microsoft.com/office/drawing/2014/main" id="{8E014028-AFB3-45C4-BD74-872A12B3BF7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4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960000" y="432000"/>
            <a:ext cx="10272000" cy="2520000"/>
          </a:xfrm>
          <a:prstGeom prst="rect">
            <a:avLst/>
          </a:prstGeom>
          <a:noFill/>
        </p:spPr>
        <p:txBody>
          <a:bodyPr wrap="square" lIns="72000" tIns="72000" bIns="72000" anchor="b" anchorCtr="1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16" name="Untertitel 2">
            <a:extLst>
              <a:ext uri="{FF2B5EF4-FFF2-40B4-BE49-F238E27FC236}">
                <a16:creationId xmlns:a16="http://schemas.microsoft.com/office/drawing/2014/main" id="{DE1F7AA6-DD3D-484E-BF26-1AF488A24C0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60000" y="3492001"/>
            <a:ext cx="10272000" cy="2808301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 algn="ctr">
              <a:buNone/>
              <a:defRPr sz="2800" b="1" i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Untertitel durch Klicken bearbeiten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0B636900-B439-468F-8C82-382CC0773AF9}"/>
              </a:ext>
            </a:extLst>
          </p:cNvPr>
          <p:cNvCxnSpPr>
            <a:cxnSpLocks/>
          </p:cNvCxnSpPr>
          <p:nvPr userDrawn="1"/>
        </p:nvCxnSpPr>
        <p:spPr>
          <a:xfrm>
            <a:off x="4656000" y="3240000"/>
            <a:ext cx="288000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54099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hteck 24">
            <a:extLst>
              <a:ext uri="{FF2B5EF4-FFF2-40B4-BE49-F238E27FC236}">
                <a16:creationId xmlns:a16="http://schemas.microsoft.com/office/drawing/2014/main" id="{8E014028-AFB3-45C4-BD74-872A12B3BF7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9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Untertitel 2">
            <a:extLst>
              <a:ext uri="{FF2B5EF4-FFF2-40B4-BE49-F238E27FC236}">
                <a16:creationId xmlns:a16="http://schemas.microsoft.com/office/drawing/2014/main" id="{DE1F7AA6-DD3D-484E-BF26-1AF488A24C0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4579" y="428625"/>
            <a:ext cx="11210925" cy="5268627"/>
          </a:xfrm>
          <a:prstGeom prst="rect">
            <a:avLst/>
          </a:prstGeom>
        </p:spPr>
        <p:txBody>
          <a:bodyPr lIns="72000" tIns="72000" rIns="72000" bIns="72000" anchor="ctr" anchorCtr="0"/>
          <a:lstStyle>
            <a:lvl1pPr marL="0" indent="0" algn="ctr">
              <a:lnSpc>
                <a:spcPct val="100000"/>
              </a:lnSpc>
              <a:buNone/>
              <a:defRPr sz="3600" b="1" i="1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„Zitat durch Klicken bearbeiten“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FE351F8E-A220-4E36-9F5C-EA01E53968F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4525" y="5761452"/>
            <a:ext cx="11210924" cy="360363"/>
          </a:xfrm>
          <a:prstGeom prst="rect">
            <a:avLst/>
          </a:prstGeom>
        </p:spPr>
        <p:txBody>
          <a:bodyPr anchor="b" anchorCtr="0"/>
          <a:lstStyle>
            <a:lvl1pPr marL="3175" indent="0" algn="r">
              <a:buNone/>
              <a:defRPr sz="1800"/>
            </a:lvl1pPr>
          </a:lstStyle>
          <a:p>
            <a:pPr lvl="0"/>
            <a:r>
              <a:rPr lang="de-DE" dirty="0"/>
              <a:t>Vorname Name</a:t>
            </a:r>
          </a:p>
        </p:txBody>
      </p:sp>
    </p:spTree>
    <p:extLst>
      <p:ext uri="{BB962C8B-B14F-4D97-AF65-F5344CB8AC3E}">
        <p14:creationId xmlns:p14="http://schemas.microsoft.com/office/powerpoint/2010/main" val="2685677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titel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umsplatzhalter 11"/>
          <p:cNvSpPr>
            <a:spLocks noGrp="1"/>
          </p:cNvSpPr>
          <p:nvPr>
            <p:ph type="dt" sz="half" idx="15"/>
          </p:nvPr>
        </p:nvSpPr>
        <p:spPr>
          <a:xfrm>
            <a:off x="1056000" y="6372000"/>
            <a:ext cx="960107" cy="144000"/>
          </a:xfrm>
          <a:prstGeom prst="rect">
            <a:avLst/>
          </a:prstGeom>
        </p:spPr>
        <p:txBody>
          <a:bodyPr/>
          <a:lstStyle/>
          <a:p>
            <a:fld id="{071A1CDF-4400-4140-BB65-1B05704E63B8}" type="datetime1">
              <a:rPr lang="de-DE" smtClean="0"/>
              <a:pPr/>
              <a:t>11.11.2019</a:t>
            </a:fld>
            <a:endParaRPr lang="de-DE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6"/>
          </p:nvPr>
        </p:nvSpPr>
        <p:spPr>
          <a:xfrm>
            <a:off x="2160000" y="6372000"/>
            <a:ext cx="7104000" cy="144000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7"/>
          </p:nvPr>
        </p:nvSpPr>
        <p:spPr>
          <a:xfrm>
            <a:off x="240000" y="6336000"/>
            <a:ext cx="672000" cy="180000"/>
          </a:xfrm>
          <a:prstGeom prst="rect">
            <a:avLst/>
          </a:prstGeom>
        </p:spPr>
        <p:txBody>
          <a:bodyPr/>
          <a:lstStyle/>
          <a:p>
            <a:fld id="{BEA30288-E3B5-4660-9128-F5D5808E1F0C}" type="slidenum">
              <a:rPr lang="de-DE" smtClean="0"/>
              <a:pPr/>
              <a:t>‹#›</a:t>
            </a:fld>
            <a:endParaRPr lang="de-DE" dirty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FBF6D345-005A-4B5F-AC95-741E9B1CF26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80001" y="540000"/>
            <a:ext cx="400361" cy="360000"/>
            <a:chOff x="288000" y="6335568"/>
            <a:chExt cx="180000" cy="161854"/>
          </a:xfrm>
          <a:solidFill>
            <a:schemeClr val="tx2"/>
          </a:solidFill>
        </p:grpSpPr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A6067C07-3D9D-420C-93CA-D9150FB14D43}"/>
                </a:ext>
              </a:extLst>
            </p:cNvPr>
            <p:cNvSpPr/>
            <p:nvPr userDrawn="1"/>
          </p:nvSpPr>
          <p:spPr>
            <a:xfrm>
              <a:off x="288000" y="6335568"/>
              <a:ext cx="180000" cy="405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0821C4BC-0A8F-4299-9EAB-7A2CB4962E7F}"/>
                </a:ext>
              </a:extLst>
            </p:cNvPr>
            <p:cNvSpPr/>
            <p:nvPr userDrawn="1"/>
          </p:nvSpPr>
          <p:spPr>
            <a:xfrm>
              <a:off x="288000" y="6396245"/>
              <a:ext cx="180000" cy="405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C36409EE-8EC8-4EC5-B86C-78F308ACFDA0}"/>
                </a:ext>
              </a:extLst>
            </p:cNvPr>
            <p:cNvSpPr/>
            <p:nvPr userDrawn="1"/>
          </p:nvSpPr>
          <p:spPr>
            <a:xfrm>
              <a:off x="288000" y="6456922"/>
              <a:ext cx="180000" cy="405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1" name="Textplatzhalter 8">
            <a:extLst>
              <a:ext uri="{FF2B5EF4-FFF2-40B4-BE49-F238E27FC236}">
                <a16:creationId xmlns:a16="http://schemas.microsoft.com/office/drawing/2014/main" id="{1B548697-6085-4E35-8D7B-A603DEBDA7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8000" y="1800000"/>
            <a:ext cx="11207450" cy="4321175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C304559A-5649-4524-96CA-10EC37430F3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008000"/>
            <a:ext cx="11207450" cy="720000"/>
          </a:xfrm>
        </p:spPr>
        <p:txBody>
          <a:bodyPr/>
          <a:lstStyle>
            <a:lvl1pPr marL="3175" indent="0">
              <a:buNone/>
              <a:defRPr sz="2000" b="1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23" name="Titel 10">
            <a:extLst>
              <a:ext uri="{FF2B5EF4-FFF2-40B4-BE49-F238E27FC236}">
                <a16:creationId xmlns:a16="http://schemas.microsoft.com/office/drawing/2014/main" id="{8628170A-2D5D-4865-B69D-9D98116D6F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432000"/>
            <a:ext cx="11207450" cy="540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2194217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1056000" y="6372000"/>
            <a:ext cx="960107" cy="144000"/>
          </a:xfrm>
          <a:prstGeom prst="rect">
            <a:avLst/>
          </a:prstGeom>
        </p:spPr>
        <p:txBody>
          <a:bodyPr/>
          <a:lstStyle/>
          <a:p>
            <a:fld id="{429D2290-2251-409C-998D-CA2A76E403CF}" type="datetime1">
              <a:rPr lang="de-DE" smtClean="0"/>
              <a:t>11.11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160000" y="6372000"/>
            <a:ext cx="7104000" cy="144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240000" y="6336000"/>
            <a:ext cx="672000" cy="1800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BEA30288-E3B5-4660-9128-F5D5808E1F0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B41B49ED-E6D1-4B09-A75B-7DB6A45673F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80001" y="540000"/>
            <a:ext cx="400361" cy="360000"/>
            <a:chOff x="288000" y="6335568"/>
            <a:chExt cx="180000" cy="161854"/>
          </a:xfrm>
          <a:solidFill>
            <a:schemeClr val="tx2"/>
          </a:solidFill>
        </p:grpSpPr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A7F321C0-9534-4243-B531-4B65D4162BCA}"/>
                </a:ext>
              </a:extLst>
            </p:cNvPr>
            <p:cNvSpPr/>
            <p:nvPr userDrawn="1"/>
          </p:nvSpPr>
          <p:spPr>
            <a:xfrm>
              <a:off x="288000" y="6335568"/>
              <a:ext cx="180000" cy="405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8862D846-ED31-47A4-B475-990AF47420BF}"/>
                </a:ext>
              </a:extLst>
            </p:cNvPr>
            <p:cNvSpPr/>
            <p:nvPr userDrawn="1"/>
          </p:nvSpPr>
          <p:spPr>
            <a:xfrm>
              <a:off x="288000" y="6396245"/>
              <a:ext cx="180000" cy="405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04405DBB-469B-41FB-B130-3A0E0EBE1A1C}"/>
                </a:ext>
              </a:extLst>
            </p:cNvPr>
            <p:cNvSpPr/>
            <p:nvPr userDrawn="1"/>
          </p:nvSpPr>
          <p:spPr>
            <a:xfrm>
              <a:off x="288000" y="6456922"/>
              <a:ext cx="180000" cy="405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DB35F4B7-05D7-431F-95B8-94A195CF6A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008000"/>
            <a:ext cx="11207450" cy="720000"/>
          </a:xfrm>
        </p:spPr>
        <p:txBody>
          <a:bodyPr/>
          <a:lstStyle>
            <a:lvl1pPr marL="3175" indent="0">
              <a:buNone/>
              <a:defRPr sz="2000" b="1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9" name="Titel 10">
            <a:extLst>
              <a:ext uri="{FF2B5EF4-FFF2-40B4-BE49-F238E27FC236}">
                <a16:creationId xmlns:a16="http://schemas.microsoft.com/office/drawing/2014/main" id="{0EC89BDC-8DB3-4F2E-88F0-F1C87DBD6E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432000"/>
            <a:ext cx="11207450" cy="540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5645418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2-zeilig, Subtitel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648000" y="2249729"/>
            <a:ext cx="11207450" cy="387144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5"/>
          </p:nvPr>
        </p:nvSpPr>
        <p:spPr>
          <a:xfrm>
            <a:off x="1056000" y="6372000"/>
            <a:ext cx="960107" cy="144000"/>
          </a:xfrm>
          <a:prstGeom prst="rect">
            <a:avLst/>
          </a:prstGeom>
        </p:spPr>
        <p:txBody>
          <a:bodyPr/>
          <a:lstStyle/>
          <a:p>
            <a:fld id="{071A1CDF-4400-4140-BB65-1B05704E63B8}" type="datetime1">
              <a:rPr lang="de-DE" smtClean="0"/>
              <a:pPr/>
              <a:t>11.11.2019</a:t>
            </a:fld>
            <a:endParaRPr lang="de-DE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6"/>
          </p:nvPr>
        </p:nvSpPr>
        <p:spPr>
          <a:xfrm>
            <a:off x="2160000" y="6372000"/>
            <a:ext cx="7104000" cy="144000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7"/>
          </p:nvPr>
        </p:nvSpPr>
        <p:spPr>
          <a:xfrm>
            <a:off x="240000" y="6336000"/>
            <a:ext cx="672000" cy="180000"/>
          </a:xfrm>
          <a:prstGeom prst="rect">
            <a:avLst/>
          </a:prstGeom>
        </p:spPr>
        <p:txBody>
          <a:bodyPr/>
          <a:lstStyle/>
          <a:p>
            <a:fld id="{BEA30288-E3B5-4660-9128-F5D5808E1F0C}" type="slidenum">
              <a:rPr lang="de-DE" smtClean="0"/>
              <a:pPr/>
              <a:t>‹#›</a:t>
            </a:fld>
            <a:endParaRPr lang="de-DE" dirty="0"/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EF8FB743-9141-46FD-BAAF-2D399FA6400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80001" y="540000"/>
            <a:ext cx="400361" cy="360000"/>
            <a:chOff x="288000" y="6335568"/>
            <a:chExt cx="180000" cy="161854"/>
          </a:xfrm>
          <a:solidFill>
            <a:schemeClr val="tx2"/>
          </a:solidFill>
        </p:grpSpPr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62F1CDB7-4F45-4D56-8516-398BF8469710}"/>
                </a:ext>
              </a:extLst>
            </p:cNvPr>
            <p:cNvSpPr/>
            <p:nvPr userDrawn="1"/>
          </p:nvSpPr>
          <p:spPr>
            <a:xfrm>
              <a:off x="288000" y="6335568"/>
              <a:ext cx="180000" cy="405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39CB696E-F4A9-4FB8-A8F3-4E008A11B671}"/>
                </a:ext>
              </a:extLst>
            </p:cNvPr>
            <p:cNvSpPr/>
            <p:nvPr userDrawn="1"/>
          </p:nvSpPr>
          <p:spPr>
            <a:xfrm>
              <a:off x="288000" y="6396245"/>
              <a:ext cx="180000" cy="405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99B1F7BB-9B45-403B-9334-AC27E2F141B7}"/>
                </a:ext>
              </a:extLst>
            </p:cNvPr>
            <p:cNvSpPr/>
            <p:nvPr userDrawn="1"/>
          </p:nvSpPr>
          <p:spPr>
            <a:xfrm>
              <a:off x="288000" y="6456922"/>
              <a:ext cx="180000" cy="405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F29E9D75-C188-454A-BC0E-B47A155144D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484864"/>
            <a:ext cx="11207450" cy="720000"/>
          </a:xfrm>
          <a:prstGeom prst="rect">
            <a:avLst/>
          </a:prstGeom>
        </p:spPr>
        <p:txBody>
          <a:bodyPr/>
          <a:lstStyle>
            <a:lvl1pPr marL="3175" indent="0">
              <a:buNone/>
              <a:defRPr sz="2000" b="1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23" name="Titelplatzhalter 1">
            <a:extLst>
              <a:ext uri="{FF2B5EF4-FFF2-40B4-BE49-F238E27FC236}">
                <a16:creationId xmlns:a16="http://schemas.microsoft.com/office/drawing/2014/main" id="{8E0E03C7-14E8-4BDE-A4AE-A46D18B27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432000"/>
            <a:ext cx="11207450" cy="100800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/>
            </a:lvl1pPr>
          </a:lstStyle>
          <a:p>
            <a:r>
              <a:rPr lang="de-DE" dirty="0"/>
              <a:t>Zweizeiliger 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5545901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2-zeilig, Sub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1056000" y="6372000"/>
            <a:ext cx="960107" cy="144000"/>
          </a:xfrm>
          <a:prstGeom prst="rect">
            <a:avLst/>
          </a:prstGeom>
        </p:spPr>
        <p:txBody>
          <a:bodyPr/>
          <a:lstStyle/>
          <a:p>
            <a:fld id="{429D2290-2251-409C-998D-CA2A76E403CF}" type="datetime1">
              <a:rPr lang="de-DE" smtClean="0"/>
              <a:t>11.11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160000" y="6372000"/>
            <a:ext cx="7104000" cy="144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240000" y="6336000"/>
            <a:ext cx="672000" cy="1800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BEA30288-E3B5-4660-9128-F5D5808E1F0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59AC71B6-2092-4A1E-9AB0-C612D82012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484864"/>
            <a:ext cx="11208000" cy="720000"/>
          </a:xfrm>
          <a:prstGeom prst="rect">
            <a:avLst/>
          </a:prstGeom>
        </p:spPr>
        <p:txBody>
          <a:bodyPr/>
          <a:lstStyle>
            <a:lvl1pPr marL="3175" indent="0">
              <a:buNone/>
              <a:defRPr sz="2000" b="1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53CB49B6-FBF9-4359-A08F-5019ABB813C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80001" y="540000"/>
            <a:ext cx="400361" cy="360000"/>
            <a:chOff x="288000" y="6335568"/>
            <a:chExt cx="180000" cy="161854"/>
          </a:xfrm>
          <a:solidFill>
            <a:schemeClr val="tx2"/>
          </a:solidFill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540819FC-E7AF-491B-AD96-DBB08411E513}"/>
                </a:ext>
              </a:extLst>
            </p:cNvPr>
            <p:cNvSpPr/>
            <p:nvPr userDrawn="1"/>
          </p:nvSpPr>
          <p:spPr>
            <a:xfrm>
              <a:off x="288000" y="6335568"/>
              <a:ext cx="180000" cy="405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D73995A8-7777-4D59-AD78-5C4E7595C8B3}"/>
                </a:ext>
              </a:extLst>
            </p:cNvPr>
            <p:cNvSpPr/>
            <p:nvPr userDrawn="1"/>
          </p:nvSpPr>
          <p:spPr>
            <a:xfrm>
              <a:off x="288000" y="6396245"/>
              <a:ext cx="180000" cy="405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71295447-90E7-4225-842B-17F7E94BA4AB}"/>
                </a:ext>
              </a:extLst>
            </p:cNvPr>
            <p:cNvSpPr/>
            <p:nvPr userDrawn="1"/>
          </p:nvSpPr>
          <p:spPr>
            <a:xfrm>
              <a:off x="288000" y="6456922"/>
              <a:ext cx="180000" cy="405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9" name="Titelplatzhalter 1">
            <a:extLst>
              <a:ext uri="{FF2B5EF4-FFF2-40B4-BE49-F238E27FC236}">
                <a16:creationId xmlns:a16="http://schemas.microsoft.com/office/drawing/2014/main" id="{72206BD5-6C18-40C9-A5D4-E0AFBFC370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432000"/>
            <a:ext cx="11207450" cy="100800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/>
            </a:lvl1pPr>
          </a:lstStyle>
          <a:p>
            <a:r>
              <a:rPr lang="de-DE" dirty="0"/>
              <a:t>Zweizeiliger 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890544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64625612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3" name="think-cell Slide" r:id="rId24" imgW="353" imgH="353" progId="TCLayout.ActiveDocument.1">
                  <p:embed/>
                </p:oleObj>
              </mc:Choice>
              <mc:Fallback>
                <p:oleObj name="think-cell Slide" r:id="rId2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72">
            <a:extLst>
              <a:ext uri="{FF2B5EF4-FFF2-40B4-BE49-F238E27FC236}">
                <a16:creationId xmlns:a16="http://schemas.microsoft.com/office/drawing/2014/main" id="{0D008410-9B88-40DD-AB41-C581781C9C2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72781" y="6336000"/>
            <a:ext cx="1807219" cy="177584"/>
          </a:xfrm>
          <a:custGeom>
            <a:avLst/>
            <a:gdLst>
              <a:gd name="T0" fmla="*/ 2669 w 5760"/>
              <a:gd name="T1" fmla="*/ 458 h 566"/>
              <a:gd name="T2" fmla="*/ 2401 w 5760"/>
              <a:gd name="T3" fmla="*/ 346 h 566"/>
              <a:gd name="T4" fmla="*/ 2333 w 5760"/>
              <a:gd name="T5" fmla="*/ 341 h 566"/>
              <a:gd name="T6" fmla="*/ 2627 w 5760"/>
              <a:gd name="T7" fmla="*/ 545 h 566"/>
              <a:gd name="T8" fmla="*/ 2791 w 5760"/>
              <a:gd name="T9" fmla="*/ 66 h 566"/>
              <a:gd name="T10" fmla="*/ 3006 w 5760"/>
              <a:gd name="T11" fmla="*/ 215 h 566"/>
              <a:gd name="T12" fmla="*/ 2864 w 5760"/>
              <a:gd name="T13" fmla="*/ 521 h 566"/>
              <a:gd name="T14" fmla="*/ 3023 w 5760"/>
              <a:gd name="T15" fmla="*/ 248 h 566"/>
              <a:gd name="T16" fmla="*/ 3193 w 5760"/>
              <a:gd name="T17" fmla="*/ 531 h 566"/>
              <a:gd name="T18" fmla="*/ 3361 w 5760"/>
              <a:gd name="T19" fmla="*/ 59 h 566"/>
              <a:gd name="T20" fmla="*/ 3373 w 5760"/>
              <a:gd name="T21" fmla="*/ 199 h 566"/>
              <a:gd name="T22" fmla="*/ 3256 w 5760"/>
              <a:gd name="T23" fmla="*/ 533 h 566"/>
              <a:gd name="T24" fmla="*/ 3715 w 5760"/>
              <a:gd name="T25" fmla="*/ 283 h 566"/>
              <a:gd name="T26" fmla="*/ 3493 w 5760"/>
              <a:gd name="T27" fmla="*/ 260 h 566"/>
              <a:gd name="T28" fmla="*/ 4119 w 5760"/>
              <a:gd name="T29" fmla="*/ 299 h 566"/>
              <a:gd name="T30" fmla="*/ 3887 w 5760"/>
              <a:gd name="T31" fmla="*/ 259 h 566"/>
              <a:gd name="T32" fmla="*/ 3953 w 5760"/>
              <a:gd name="T33" fmla="*/ 559 h 566"/>
              <a:gd name="T34" fmla="*/ 3993 w 5760"/>
              <a:gd name="T35" fmla="*/ 508 h 566"/>
              <a:gd name="T36" fmla="*/ 4123 w 5760"/>
              <a:gd name="T37" fmla="*/ 321 h 566"/>
              <a:gd name="T38" fmla="*/ 4054 w 5760"/>
              <a:gd name="T39" fmla="*/ 309 h 566"/>
              <a:gd name="T40" fmla="*/ 4191 w 5760"/>
              <a:gd name="T41" fmla="*/ 252 h 566"/>
              <a:gd name="T42" fmla="*/ 4306 w 5760"/>
              <a:gd name="T43" fmla="*/ 526 h 566"/>
              <a:gd name="T44" fmla="*/ 4400 w 5760"/>
              <a:gd name="T45" fmla="*/ 281 h 566"/>
              <a:gd name="T46" fmla="*/ 4538 w 5760"/>
              <a:gd name="T47" fmla="*/ 292 h 566"/>
              <a:gd name="T48" fmla="*/ 4675 w 5760"/>
              <a:gd name="T49" fmla="*/ 215 h 566"/>
              <a:gd name="T50" fmla="*/ 4483 w 5760"/>
              <a:gd name="T51" fmla="*/ 313 h 566"/>
              <a:gd name="T52" fmla="*/ 4600 w 5760"/>
              <a:gd name="T53" fmla="*/ 536 h 566"/>
              <a:gd name="T54" fmla="*/ 4573 w 5760"/>
              <a:gd name="T55" fmla="*/ 563 h 566"/>
              <a:gd name="T56" fmla="*/ 4839 w 5760"/>
              <a:gd name="T57" fmla="*/ 133 h 566"/>
              <a:gd name="T58" fmla="*/ 4806 w 5760"/>
              <a:gd name="T59" fmla="*/ 70 h 566"/>
              <a:gd name="T60" fmla="*/ 4790 w 5760"/>
              <a:gd name="T61" fmla="*/ 255 h 566"/>
              <a:gd name="T62" fmla="*/ 4879 w 5760"/>
              <a:gd name="T63" fmla="*/ 512 h 566"/>
              <a:gd name="T64" fmla="*/ 5071 w 5760"/>
              <a:gd name="T65" fmla="*/ 211 h 566"/>
              <a:gd name="T66" fmla="*/ 5168 w 5760"/>
              <a:gd name="T67" fmla="*/ 505 h 566"/>
              <a:gd name="T68" fmla="*/ 5295 w 5760"/>
              <a:gd name="T69" fmla="*/ 56 h 566"/>
              <a:gd name="T70" fmla="*/ 5435 w 5760"/>
              <a:gd name="T71" fmla="*/ 129 h 566"/>
              <a:gd name="T72" fmla="*/ 5383 w 5760"/>
              <a:gd name="T73" fmla="*/ 94 h 566"/>
              <a:gd name="T74" fmla="*/ 5463 w 5760"/>
              <a:gd name="T75" fmla="*/ 276 h 566"/>
              <a:gd name="T76" fmla="*/ 5225 w 5760"/>
              <a:gd name="T77" fmla="*/ 300 h 566"/>
              <a:gd name="T78" fmla="*/ 5377 w 5760"/>
              <a:gd name="T79" fmla="*/ 250 h 566"/>
              <a:gd name="T80" fmla="*/ 5225 w 5760"/>
              <a:gd name="T81" fmla="*/ 503 h 566"/>
              <a:gd name="T82" fmla="*/ 5465 w 5760"/>
              <a:gd name="T83" fmla="*/ 563 h 566"/>
              <a:gd name="T84" fmla="*/ 5286 w 5760"/>
              <a:gd name="T85" fmla="*/ 445 h 566"/>
              <a:gd name="T86" fmla="*/ 5659 w 5760"/>
              <a:gd name="T87" fmla="*/ 465 h 566"/>
              <a:gd name="T88" fmla="*/ 5606 w 5760"/>
              <a:gd name="T89" fmla="*/ 526 h 566"/>
              <a:gd name="T90" fmla="*/ 2066 w 5760"/>
              <a:gd name="T91" fmla="*/ 414 h 566"/>
              <a:gd name="T92" fmla="*/ 888 w 5760"/>
              <a:gd name="T93" fmla="*/ 58 h 566"/>
              <a:gd name="T94" fmla="*/ 701 w 5760"/>
              <a:gd name="T95" fmla="*/ 554 h 566"/>
              <a:gd name="T96" fmla="*/ 924 w 5760"/>
              <a:gd name="T97" fmla="*/ 318 h 566"/>
              <a:gd name="T98" fmla="*/ 772 w 5760"/>
              <a:gd name="T99" fmla="*/ 75 h 566"/>
              <a:gd name="T100" fmla="*/ 715 w 5760"/>
              <a:gd name="T101" fmla="*/ 519 h 566"/>
              <a:gd name="T102" fmla="*/ 820 w 5760"/>
              <a:gd name="T103" fmla="*/ 362 h 566"/>
              <a:gd name="T104" fmla="*/ 1131 w 5760"/>
              <a:gd name="T105" fmla="*/ 189 h 566"/>
              <a:gd name="T106" fmla="*/ 1281 w 5760"/>
              <a:gd name="T107" fmla="*/ 108 h 566"/>
              <a:gd name="T108" fmla="*/ 1024 w 5760"/>
              <a:gd name="T109" fmla="*/ 73 h 566"/>
              <a:gd name="T110" fmla="*/ 1211 w 5760"/>
              <a:gd name="T111" fmla="*/ 362 h 566"/>
              <a:gd name="T112" fmla="*/ 1031 w 5760"/>
              <a:gd name="T113" fmla="*/ 449 h 566"/>
              <a:gd name="T114" fmla="*/ 1143 w 5760"/>
              <a:gd name="T115" fmla="*/ 566 h 566"/>
              <a:gd name="T116" fmla="*/ 1328 w 5760"/>
              <a:gd name="T117" fmla="*/ 309 h 566"/>
              <a:gd name="T118" fmla="*/ 199 w 5760"/>
              <a:gd name="T119" fmla="*/ 486 h 566"/>
              <a:gd name="T120" fmla="*/ 330 w 5760"/>
              <a:gd name="T121" fmla="*/ 239 h 566"/>
              <a:gd name="T122" fmla="*/ 379 w 5760"/>
              <a:gd name="T123" fmla="*/ 98 h 566"/>
              <a:gd name="T124" fmla="*/ 72 w 5760"/>
              <a:gd name="T125" fmla="*/ 503 h 5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760" h="566">
                <a:moveTo>
                  <a:pt x="2618" y="66"/>
                </a:moveTo>
                <a:lnTo>
                  <a:pt x="2618" y="66"/>
                </a:lnTo>
                <a:lnTo>
                  <a:pt x="2637" y="68"/>
                </a:lnTo>
                <a:lnTo>
                  <a:pt x="2653" y="70"/>
                </a:lnTo>
                <a:lnTo>
                  <a:pt x="2667" y="73"/>
                </a:lnTo>
                <a:lnTo>
                  <a:pt x="2676" y="77"/>
                </a:lnTo>
                <a:lnTo>
                  <a:pt x="2684" y="84"/>
                </a:lnTo>
                <a:lnTo>
                  <a:pt x="2690" y="91"/>
                </a:lnTo>
                <a:lnTo>
                  <a:pt x="2693" y="100"/>
                </a:lnTo>
                <a:lnTo>
                  <a:pt x="2695" y="110"/>
                </a:lnTo>
                <a:lnTo>
                  <a:pt x="2695" y="110"/>
                </a:lnTo>
                <a:lnTo>
                  <a:pt x="2698" y="129"/>
                </a:lnTo>
                <a:lnTo>
                  <a:pt x="2700" y="155"/>
                </a:lnTo>
                <a:lnTo>
                  <a:pt x="2700" y="192"/>
                </a:lnTo>
                <a:lnTo>
                  <a:pt x="2702" y="239"/>
                </a:lnTo>
                <a:lnTo>
                  <a:pt x="2702" y="299"/>
                </a:lnTo>
                <a:lnTo>
                  <a:pt x="2702" y="299"/>
                </a:lnTo>
                <a:lnTo>
                  <a:pt x="2700" y="344"/>
                </a:lnTo>
                <a:lnTo>
                  <a:pt x="2697" y="367"/>
                </a:lnTo>
                <a:lnTo>
                  <a:pt x="2693" y="388"/>
                </a:lnTo>
                <a:lnTo>
                  <a:pt x="2690" y="407"/>
                </a:lnTo>
                <a:lnTo>
                  <a:pt x="2684" y="426"/>
                </a:lnTo>
                <a:lnTo>
                  <a:pt x="2677" y="442"/>
                </a:lnTo>
                <a:lnTo>
                  <a:pt x="2669" y="458"/>
                </a:lnTo>
                <a:lnTo>
                  <a:pt x="2660" y="472"/>
                </a:lnTo>
                <a:lnTo>
                  <a:pt x="2649" y="486"/>
                </a:lnTo>
                <a:lnTo>
                  <a:pt x="2637" y="496"/>
                </a:lnTo>
                <a:lnTo>
                  <a:pt x="2623" y="505"/>
                </a:lnTo>
                <a:lnTo>
                  <a:pt x="2607" y="512"/>
                </a:lnTo>
                <a:lnTo>
                  <a:pt x="2590" y="517"/>
                </a:lnTo>
                <a:lnTo>
                  <a:pt x="2571" y="521"/>
                </a:lnTo>
                <a:lnTo>
                  <a:pt x="2551" y="522"/>
                </a:lnTo>
                <a:lnTo>
                  <a:pt x="2551" y="522"/>
                </a:lnTo>
                <a:lnTo>
                  <a:pt x="2532" y="521"/>
                </a:lnTo>
                <a:lnTo>
                  <a:pt x="2517" y="519"/>
                </a:lnTo>
                <a:lnTo>
                  <a:pt x="2501" y="514"/>
                </a:lnTo>
                <a:lnTo>
                  <a:pt x="2485" y="508"/>
                </a:lnTo>
                <a:lnTo>
                  <a:pt x="2473" y="501"/>
                </a:lnTo>
                <a:lnTo>
                  <a:pt x="2461" y="493"/>
                </a:lnTo>
                <a:lnTo>
                  <a:pt x="2448" y="482"/>
                </a:lnTo>
                <a:lnTo>
                  <a:pt x="2440" y="470"/>
                </a:lnTo>
                <a:lnTo>
                  <a:pt x="2431" y="456"/>
                </a:lnTo>
                <a:lnTo>
                  <a:pt x="2422" y="442"/>
                </a:lnTo>
                <a:lnTo>
                  <a:pt x="2417" y="425"/>
                </a:lnTo>
                <a:lnTo>
                  <a:pt x="2412" y="407"/>
                </a:lnTo>
                <a:lnTo>
                  <a:pt x="2406" y="388"/>
                </a:lnTo>
                <a:lnTo>
                  <a:pt x="2403" y="369"/>
                </a:lnTo>
                <a:lnTo>
                  <a:pt x="2401" y="346"/>
                </a:lnTo>
                <a:lnTo>
                  <a:pt x="2401" y="323"/>
                </a:lnTo>
                <a:lnTo>
                  <a:pt x="2401" y="145"/>
                </a:lnTo>
                <a:lnTo>
                  <a:pt x="2401" y="145"/>
                </a:lnTo>
                <a:lnTo>
                  <a:pt x="2401" y="121"/>
                </a:lnTo>
                <a:lnTo>
                  <a:pt x="2403" y="103"/>
                </a:lnTo>
                <a:lnTo>
                  <a:pt x="2406" y="89"/>
                </a:lnTo>
                <a:lnTo>
                  <a:pt x="2412" y="80"/>
                </a:lnTo>
                <a:lnTo>
                  <a:pt x="2420" y="73"/>
                </a:lnTo>
                <a:lnTo>
                  <a:pt x="2433" y="70"/>
                </a:lnTo>
                <a:lnTo>
                  <a:pt x="2450" y="66"/>
                </a:lnTo>
                <a:lnTo>
                  <a:pt x="2471" y="66"/>
                </a:lnTo>
                <a:lnTo>
                  <a:pt x="2471" y="44"/>
                </a:lnTo>
                <a:lnTo>
                  <a:pt x="2265" y="44"/>
                </a:lnTo>
                <a:lnTo>
                  <a:pt x="2265" y="66"/>
                </a:lnTo>
                <a:lnTo>
                  <a:pt x="2265" y="66"/>
                </a:lnTo>
                <a:lnTo>
                  <a:pt x="2286" y="68"/>
                </a:lnTo>
                <a:lnTo>
                  <a:pt x="2302" y="70"/>
                </a:lnTo>
                <a:lnTo>
                  <a:pt x="2314" y="75"/>
                </a:lnTo>
                <a:lnTo>
                  <a:pt x="2323" y="80"/>
                </a:lnTo>
                <a:lnTo>
                  <a:pt x="2328" y="91"/>
                </a:lnTo>
                <a:lnTo>
                  <a:pt x="2331" y="103"/>
                </a:lnTo>
                <a:lnTo>
                  <a:pt x="2333" y="121"/>
                </a:lnTo>
                <a:lnTo>
                  <a:pt x="2333" y="145"/>
                </a:lnTo>
                <a:lnTo>
                  <a:pt x="2333" y="341"/>
                </a:lnTo>
                <a:lnTo>
                  <a:pt x="2333" y="341"/>
                </a:lnTo>
                <a:lnTo>
                  <a:pt x="2335" y="374"/>
                </a:lnTo>
                <a:lnTo>
                  <a:pt x="2338" y="404"/>
                </a:lnTo>
                <a:lnTo>
                  <a:pt x="2343" y="430"/>
                </a:lnTo>
                <a:lnTo>
                  <a:pt x="2350" y="454"/>
                </a:lnTo>
                <a:lnTo>
                  <a:pt x="2361" y="477"/>
                </a:lnTo>
                <a:lnTo>
                  <a:pt x="2373" y="496"/>
                </a:lnTo>
                <a:lnTo>
                  <a:pt x="2387" y="512"/>
                </a:lnTo>
                <a:lnTo>
                  <a:pt x="2403" y="528"/>
                </a:lnTo>
                <a:lnTo>
                  <a:pt x="2403" y="528"/>
                </a:lnTo>
                <a:lnTo>
                  <a:pt x="2417" y="536"/>
                </a:lnTo>
                <a:lnTo>
                  <a:pt x="2433" y="545"/>
                </a:lnTo>
                <a:lnTo>
                  <a:pt x="2447" y="550"/>
                </a:lnTo>
                <a:lnTo>
                  <a:pt x="2462" y="556"/>
                </a:lnTo>
                <a:lnTo>
                  <a:pt x="2480" y="559"/>
                </a:lnTo>
                <a:lnTo>
                  <a:pt x="2497" y="563"/>
                </a:lnTo>
                <a:lnTo>
                  <a:pt x="2513" y="564"/>
                </a:lnTo>
                <a:lnTo>
                  <a:pt x="2530" y="564"/>
                </a:lnTo>
                <a:lnTo>
                  <a:pt x="2530" y="564"/>
                </a:lnTo>
                <a:lnTo>
                  <a:pt x="2551" y="564"/>
                </a:lnTo>
                <a:lnTo>
                  <a:pt x="2571" y="561"/>
                </a:lnTo>
                <a:lnTo>
                  <a:pt x="2590" y="557"/>
                </a:lnTo>
                <a:lnTo>
                  <a:pt x="2607" y="552"/>
                </a:lnTo>
                <a:lnTo>
                  <a:pt x="2627" y="545"/>
                </a:lnTo>
                <a:lnTo>
                  <a:pt x="2642" y="535"/>
                </a:lnTo>
                <a:lnTo>
                  <a:pt x="2658" y="524"/>
                </a:lnTo>
                <a:lnTo>
                  <a:pt x="2674" y="510"/>
                </a:lnTo>
                <a:lnTo>
                  <a:pt x="2674" y="510"/>
                </a:lnTo>
                <a:lnTo>
                  <a:pt x="2690" y="493"/>
                </a:lnTo>
                <a:lnTo>
                  <a:pt x="2702" y="472"/>
                </a:lnTo>
                <a:lnTo>
                  <a:pt x="2712" y="449"/>
                </a:lnTo>
                <a:lnTo>
                  <a:pt x="2721" y="425"/>
                </a:lnTo>
                <a:lnTo>
                  <a:pt x="2726" y="397"/>
                </a:lnTo>
                <a:lnTo>
                  <a:pt x="2731" y="369"/>
                </a:lnTo>
                <a:lnTo>
                  <a:pt x="2733" y="337"/>
                </a:lnTo>
                <a:lnTo>
                  <a:pt x="2733" y="304"/>
                </a:lnTo>
                <a:lnTo>
                  <a:pt x="2733" y="239"/>
                </a:lnTo>
                <a:lnTo>
                  <a:pt x="2733" y="239"/>
                </a:lnTo>
                <a:lnTo>
                  <a:pt x="2735" y="155"/>
                </a:lnTo>
                <a:lnTo>
                  <a:pt x="2738" y="112"/>
                </a:lnTo>
                <a:lnTo>
                  <a:pt x="2738" y="112"/>
                </a:lnTo>
                <a:lnTo>
                  <a:pt x="2740" y="101"/>
                </a:lnTo>
                <a:lnTo>
                  <a:pt x="2744" y="91"/>
                </a:lnTo>
                <a:lnTo>
                  <a:pt x="2749" y="84"/>
                </a:lnTo>
                <a:lnTo>
                  <a:pt x="2756" y="79"/>
                </a:lnTo>
                <a:lnTo>
                  <a:pt x="2766" y="73"/>
                </a:lnTo>
                <a:lnTo>
                  <a:pt x="2777" y="70"/>
                </a:lnTo>
                <a:lnTo>
                  <a:pt x="2791" y="66"/>
                </a:lnTo>
                <a:lnTo>
                  <a:pt x="2808" y="66"/>
                </a:lnTo>
                <a:lnTo>
                  <a:pt x="2808" y="44"/>
                </a:lnTo>
                <a:lnTo>
                  <a:pt x="2618" y="44"/>
                </a:lnTo>
                <a:lnTo>
                  <a:pt x="2618" y="66"/>
                </a:lnTo>
                <a:close/>
                <a:moveTo>
                  <a:pt x="3158" y="472"/>
                </a:moveTo>
                <a:lnTo>
                  <a:pt x="3158" y="321"/>
                </a:lnTo>
                <a:lnTo>
                  <a:pt x="3158" y="321"/>
                </a:lnTo>
                <a:lnTo>
                  <a:pt x="3156" y="293"/>
                </a:lnTo>
                <a:lnTo>
                  <a:pt x="3151" y="269"/>
                </a:lnTo>
                <a:lnTo>
                  <a:pt x="3147" y="259"/>
                </a:lnTo>
                <a:lnTo>
                  <a:pt x="3142" y="250"/>
                </a:lnTo>
                <a:lnTo>
                  <a:pt x="3137" y="241"/>
                </a:lnTo>
                <a:lnTo>
                  <a:pt x="3130" y="232"/>
                </a:lnTo>
                <a:lnTo>
                  <a:pt x="3123" y="225"/>
                </a:lnTo>
                <a:lnTo>
                  <a:pt x="3116" y="218"/>
                </a:lnTo>
                <a:lnTo>
                  <a:pt x="3107" y="213"/>
                </a:lnTo>
                <a:lnTo>
                  <a:pt x="3098" y="210"/>
                </a:lnTo>
                <a:lnTo>
                  <a:pt x="3088" y="206"/>
                </a:lnTo>
                <a:lnTo>
                  <a:pt x="3077" y="203"/>
                </a:lnTo>
                <a:lnTo>
                  <a:pt x="3055" y="201"/>
                </a:lnTo>
                <a:lnTo>
                  <a:pt x="3055" y="201"/>
                </a:lnTo>
                <a:lnTo>
                  <a:pt x="3039" y="203"/>
                </a:lnTo>
                <a:lnTo>
                  <a:pt x="3022" y="208"/>
                </a:lnTo>
                <a:lnTo>
                  <a:pt x="3006" y="215"/>
                </a:lnTo>
                <a:lnTo>
                  <a:pt x="2988" y="225"/>
                </a:lnTo>
                <a:lnTo>
                  <a:pt x="2988" y="225"/>
                </a:lnTo>
                <a:lnTo>
                  <a:pt x="2936" y="262"/>
                </a:lnTo>
                <a:lnTo>
                  <a:pt x="2936" y="199"/>
                </a:lnTo>
                <a:lnTo>
                  <a:pt x="2936" y="199"/>
                </a:lnTo>
                <a:lnTo>
                  <a:pt x="2910" y="210"/>
                </a:lnTo>
                <a:lnTo>
                  <a:pt x="2882" y="218"/>
                </a:lnTo>
                <a:lnTo>
                  <a:pt x="2854" y="225"/>
                </a:lnTo>
                <a:lnTo>
                  <a:pt x="2826" y="231"/>
                </a:lnTo>
                <a:lnTo>
                  <a:pt x="2826" y="250"/>
                </a:lnTo>
                <a:lnTo>
                  <a:pt x="2826" y="250"/>
                </a:lnTo>
                <a:lnTo>
                  <a:pt x="2850" y="255"/>
                </a:lnTo>
                <a:lnTo>
                  <a:pt x="2859" y="259"/>
                </a:lnTo>
                <a:lnTo>
                  <a:pt x="2866" y="264"/>
                </a:lnTo>
                <a:lnTo>
                  <a:pt x="2870" y="271"/>
                </a:lnTo>
                <a:lnTo>
                  <a:pt x="2871" y="280"/>
                </a:lnTo>
                <a:lnTo>
                  <a:pt x="2873" y="293"/>
                </a:lnTo>
                <a:lnTo>
                  <a:pt x="2873" y="309"/>
                </a:lnTo>
                <a:lnTo>
                  <a:pt x="2873" y="472"/>
                </a:lnTo>
                <a:lnTo>
                  <a:pt x="2873" y="472"/>
                </a:lnTo>
                <a:lnTo>
                  <a:pt x="2873" y="489"/>
                </a:lnTo>
                <a:lnTo>
                  <a:pt x="2871" y="503"/>
                </a:lnTo>
                <a:lnTo>
                  <a:pt x="2870" y="514"/>
                </a:lnTo>
                <a:lnTo>
                  <a:pt x="2864" y="521"/>
                </a:lnTo>
                <a:lnTo>
                  <a:pt x="2857" y="526"/>
                </a:lnTo>
                <a:lnTo>
                  <a:pt x="2847" y="529"/>
                </a:lnTo>
                <a:lnTo>
                  <a:pt x="2833" y="531"/>
                </a:lnTo>
                <a:lnTo>
                  <a:pt x="2815" y="533"/>
                </a:lnTo>
                <a:lnTo>
                  <a:pt x="2815" y="554"/>
                </a:lnTo>
                <a:lnTo>
                  <a:pt x="2988" y="554"/>
                </a:lnTo>
                <a:lnTo>
                  <a:pt x="2988" y="533"/>
                </a:lnTo>
                <a:lnTo>
                  <a:pt x="2988" y="533"/>
                </a:lnTo>
                <a:lnTo>
                  <a:pt x="2973" y="531"/>
                </a:lnTo>
                <a:lnTo>
                  <a:pt x="2960" y="529"/>
                </a:lnTo>
                <a:lnTo>
                  <a:pt x="2950" y="526"/>
                </a:lnTo>
                <a:lnTo>
                  <a:pt x="2945" y="521"/>
                </a:lnTo>
                <a:lnTo>
                  <a:pt x="2939" y="514"/>
                </a:lnTo>
                <a:lnTo>
                  <a:pt x="2938" y="503"/>
                </a:lnTo>
                <a:lnTo>
                  <a:pt x="2936" y="489"/>
                </a:lnTo>
                <a:lnTo>
                  <a:pt x="2936" y="472"/>
                </a:lnTo>
                <a:lnTo>
                  <a:pt x="2936" y="288"/>
                </a:lnTo>
                <a:lnTo>
                  <a:pt x="2936" y="288"/>
                </a:lnTo>
                <a:lnTo>
                  <a:pt x="2955" y="273"/>
                </a:lnTo>
                <a:lnTo>
                  <a:pt x="2976" y="260"/>
                </a:lnTo>
                <a:lnTo>
                  <a:pt x="2987" y="255"/>
                </a:lnTo>
                <a:lnTo>
                  <a:pt x="2999" y="252"/>
                </a:lnTo>
                <a:lnTo>
                  <a:pt x="3011" y="248"/>
                </a:lnTo>
                <a:lnTo>
                  <a:pt x="3023" y="248"/>
                </a:lnTo>
                <a:lnTo>
                  <a:pt x="3023" y="248"/>
                </a:lnTo>
                <a:lnTo>
                  <a:pt x="3041" y="250"/>
                </a:lnTo>
                <a:lnTo>
                  <a:pt x="3057" y="253"/>
                </a:lnTo>
                <a:lnTo>
                  <a:pt x="3069" y="262"/>
                </a:lnTo>
                <a:lnTo>
                  <a:pt x="3079" y="273"/>
                </a:lnTo>
                <a:lnTo>
                  <a:pt x="3086" y="285"/>
                </a:lnTo>
                <a:lnTo>
                  <a:pt x="3091" y="300"/>
                </a:lnTo>
                <a:lnTo>
                  <a:pt x="3093" y="318"/>
                </a:lnTo>
                <a:lnTo>
                  <a:pt x="3095" y="337"/>
                </a:lnTo>
                <a:lnTo>
                  <a:pt x="3095" y="468"/>
                </a:lnTo>
                <a:lnTo>
                  <a:pt x="3095" y="468"/>
                </a:lnTo>
                <a:lnTo>
                  <a:pt x="3095" y="486"/>
                </a:lnTo>
                <a:lnTo>
                  <a:pt x="3093" y="501"/>
                </a:lnTo>
                <a:lnTo>
                  <a:pt x="3091" y="512"/>
                </a:lnTo>
                <a:lnTo>
                  <a:pt x="3086" y="519"/>
                </a:lnTo>
                <a:lnTo>
                  <a:pt x="3079" y="524"/>
                </a:lnTo>
                <a:lnTo>
                  <a:pt x="3070" y="529"/>
                </a:lnTo>
                <a:lnTo>
                  <a:pt x="3058" y="531"/>
                </a:lnTo>
                <a:lnTo>
                  <a:pt x="3043" y="533"/>
                </a:lnTo>
                <a:lnTo>
                  <a:pt x="3043" y="554"/>
                </a:lnTo>
                <a:lnTo>
                  <a:pt x="3209" y="554"/>
                </a:lnTo>
                <a:lnTo>
                  <a:pt x="3209" y="533"/>
                </a:lnTo>
                <a:lnTo>
                  <a:pt x="3209" y="533"/>
                </a:lnTo>
                <a:lnTo>
                  <a:pt x="3193" y="531"/>
                </a:lnTo>
                <a:lnTo>
                  <a:pt x="3181" y="529"/>
                </a:lnTo>
                <a:lnTo>
                  <a:pt x="3172" y="526"/>
                </a:lnTo>
                <a:lnTo>
                  <a:pt x="3165" y="521"/>
                </a:lnTo>
                <a:lnTo>
                  <a:pt x="3161" y="514"/>
                </a:lnTo>
                <a:lnTo>
                  <a:pt x="3160" y="503"/>
                </a:lnTo>
                <a:lnTo>
                  <a:pt x="3158" y="489"/>
                </a:lnTo>
                <a:lnTo>
                  <a:pt x="3158" y="472"/>
                </a:lnTo>
                <a:lnTo>
                  <a:pt x="3158" y="472"/>
                </a:lnTo>
                <a:close/>
                <a:moveTo>
                  <a:pt x="3336" y="133"/>
                </a:moveTo>
                <a:lnTo>
                  <a:pt x="3336" y="133"/>
                </a:lnTo>
                <a:lnTo>
                  <a:pt x="3345" y="133"/>
                </a:lnTo>
                <a:lnTo>
                  <a:pt x="3354" y="129"/>
                </a:lnTo>
                <a:lnTo>
                  <a:pt x="3361" y="126"/>
                </a:lnTo>
                <a:lnTo>
                  <a:pt x="3366" y="121"/>
                </a:lnTo>
                <a:lnTo>
                  <a:pt x="3371" y="115"/>
                </a:lnTo>
                <a:lnTo>
                  <a:pt x="3375" y="108"/>
                </a:lnTo>
                <a:lnTo>
                  <a:pt x="3376" y="101"/>
                </a:lnTo>
                <a:lnTo>
                  <a:pt x="3378" y="93"/>
                </a:lnTo>
                <a:lnTo>
                  <a:pt x="3378" y="93"/>
                </a:lnTo>
                <a:lnTo>
                  <a:pt x="3376" y="84"/>
                </a:lnTo>
                <a:lnTo>
                  <a:pt x="3375" y="77"/>
                </a:lnTo>
                <a:lnTo>
                  <a:pt x="3371" y="70"/>
                </a:lnTo>
                <a:lnTo>
                  <a:pt x="3366" y="65"/>
                </a:lnTo>
                <a:lnTo>
                  <a:pt x="3361" y="59"/>
                </a:lnTo>
                <a:lnTo>
                  <a:pt x="3354" y="56"/>
                </a:lnTo>
                <a:lnTo>
                  <a:pt x="3345" y="52"/>
                </a:lnTo>
                <a:lnTo>
                  <a:pt x="3338" y="52"/>
                </a:lnTo>
                <a:lnTo>
                  <a:pt x="3338" y="52"/>
                </a:lnTo>
                <a:lnTo>
                  <a:pt x="3329" y="52"/>
                </a:lnTo>
                <a:lnTo>
                  <a:pt x="3322" y="56"/>
                </a:lnTo>
                <a:lnTo>
                  <a:pt x="3315" y="59"/>
                </a:lnTo>
                <a:lnTo>
                  <a:pt x="3310" y="65"/>
                </a:lnTo>
                <a:lnTo>
                  <a:pt x="3305" y="70"/>
                </a:lnTo>
                <a:lnTo>
                  <a:pt x="3301" y="77"/>
                </a:lnTo>
                <a:lnTo>
                  <a:pt x="3298" y="84"/>
                </a:lnTo>
                <a:lnTo>
                  <a:pt x="3298" y="93"/>
                </a:lnTo>
                <a:lnTo>
                  <a:pt x="3298" y="93"/>
                </a:lnTo>
                <a:lnTo>
                  <a:pt x="3298" y="101"/>
                </a:lnTo>
                <a:lnTo>
                  <a:pt x="3301" y="108"/>
                </a:lnTo>
                <a:lnTo>
                  <a:pt x="3305" y="115"/>
                </a:lnTo>
                <a:lnTo>
                  <a:pt x="3310" y="121"/>
                </a:lnTo>
                <a:lnTo>
                  <a:pt x="3315" y="126"/>
                </a:lnTo>
                <a:lnTo>
                  <a:pt x="3322" y="129"/>
                </a:lnTo>
                <a:lnTo>
                  <a:pt x="3329" y="133"/>
                </a:lnTo>
                <a:lnTo>
                  <a:pt x="3336" y="133"/>
                </a:lnTo>
                <a:lnTo>
                  <a:pt x="3336" y="133"/>
                </a:lnTo>
                <a:close/>
                <a:moveTo>
                  <a:pt x="3373" y="470"/>
                </a:moveTo>
                <a:lnTo>
                  <a:pt x="3373" y="199"/>
                </a:lnTo>
                <a:lnTo>
                  <a:pt x="3373" y="199"/>
                </a:lnTo>
                <a:lnTo>
                  <a:pt x="3347" y="210"/>
                </a:lnTo>
                <a:lnTo>
                  <a:pt x="3319" y="218"/>
                </a:lnTo>
                <a:lnTo>
                  <a:pt x="3291" y="225"/>
                </a:lnTo>
                <a:lnTo>
                  <a:pt x="3261" y="231"/>
                </a:lnTo>
                <a:lnTo>
                  <a:pt x="3261" y="250"/>
                </a:lnTo>
                <a:lnTo>
                  <a:pt x="3261" y="250"/>
                </a:lnTo>
                <a:lnTo>
                  <a:pt x="3277" y="252"/>
                </a:lnTo>
                <a:lnTo>
                  <a:pt x="3289" y="255"/>
                </a:lnTo>
                <a:lnTo>
                  <a:pt x="3298" y="259"/>
                </a:lnTo>
                <a:lnTo>
                  <a:pt x="3303" y="264"/>
                </a:lnTo>
                <a:lnTo>
                  <a:pt x="3306" y="271"/>
                </a:lnTo>
                <a:lnTo>
                  <a:pt x="3310" y="280"/>
                </a:lnTo>
                <a:lnTo>
                  <a:pt x="3310" y="307"/>
                </a:lnTo>
                <a:lnTo>
                  <a:pt x="3310" y="470"/>
                </a:lnTo>
                <a:lnTo>
                  <a:pt x="3310" y="470"/>
                </a:lnTo>
                <a:lnTo>
                  <a:pt x="3310" y="489"/>
                </a:lnTo>
                <a:lnTo>
                  <a:pt x="3308" y="503"/>
                </a:lnTo>
                <a:lnTo>
                  <a:pt x="3306" y="512"/>
                </a:lnTo>
                <a:lnTo>
                  <a:pt x="3301" y="521"/>
                </a:lnTo>
                <a:lnTo>
                  <a:pt x="3294" y="526"/>
                </a:lnTo>
                <a:lnTo>
                  <a:pt x="3285" y="529"/>
                </a:lnTo>
                <a:lnTo>
                  <a:pt x="3271" y="531"/>
                </a:lnTo>
                <a:lnTo>
                  <a:pt x="3256" y="533"/>
                </a:lnTo>
                <a:lnTo>
                  <a:pt x="3256" y="554"/>
                </a:lnTo>
                <a:lnTo>
                  <a:pt x="3430" y="554"/>
                </a:lnTo>
                <a:lnTo>
                  <a:pt x="3430" y="533"/>
                </a:lnTo>
                <a:lnTo>
                  <a:pt x="3430" y="533"/>
                </a:lnTo>
                <a:lnTo>
                  <a:pt x="3413" y="531"/>
                </a:lnTo>
                <a:lnTo>
                  <a:pt x="3399" y="529"/>
                </a:lnTo>
                <a:lnTo>
                  <a:pt x="3390" y="526"/>
                </a:lnTo>
                <a:lnTo>
                  <a:pt x="3383" y="521"/>
                </a:lnTo>
                <a:lnTo>
                  <a:pt x="3378" y="512"/>
                </a:lnTo>
                <a:lnTo>
                  <a:pt x="3375" y="503"/>
                </a:lnTo>
                <a:lnTo>
                  <a:pt x="3375" y="489"/>
                </a:lnTo>
                <a:lnTo>
                  <a:pt x="3373" y="470"/>
                </a:lnTo>
                <a:lnTo>
                  <a:pt x="3373" y="470"/>
                </a:lnTo>
                <a:close/>
                <a:moveTo>
                  <a:pt x="3677" y="231"/>
                </a:moveTo>
                <a:lnTo>
                  <a:pt x="3677" y="231"/>
                </a:lnTo>
                <a:lnTo>
                  <a:pt x="3693" y="232"/>
                </a:lnTo>
                <a:lnTo>
                  <a:pt x="3703" y="236"/>
                </a:lnTo>
                <a:lnTo>
                  <a:pt x="3712" y="239"/>
                </a:lnTo>
                <a:lnTo>
                  <a:pt x="3717" y="245"/>
                </a:lnTo>
                <a:lnTo>
                  <a:pt x="3721" y="252"/>
                </a:lnTo>
                <a:lnTo>
                  <a:pt x="3721" y="259"/>
                </a:lnTo>
                <a:lnTo>
                  <a:pt x="3719" y="269"/>
                </a:lnTo>
                <a:lnTo>
                  <a:pt x="3715" y="283"/>
                </a:lnTo>
                <a:lnTo>
                  <a:pt x="3715" y="283"/>
                </a:lnTo>
                <a:lnTo>
                  <a:pt x="3684" y="370"/>
                </a:lnTo>
                <a:lnTo>
                  <a:pt x="3665" y="421"/>
                </a:lnTo>
                <a:lnTo>
                  <a:pt x="3645" y="470"/>
                </a:lnTo>
                <a:lnTo>
                  <a:pt x="3645" y="470"/>
                </a:lnTo>
                <a:lnTo>
                  <a:pt x="3605" y="372"/>
                </a:lnTo>
                <a:lnTo>
                  <a:pt x="3569" y="276"/>
                </a:lnTo>
                <a:lnTo>
                  <a:pt x="3569" y="276"/>
                </a:lnTo>
                <a:lnTo>
                  <a:pt x="3563" y="255"/>
                </a:lnTo>
                <a:lnTo>
                  <a:pt x="3562" y="248"/>
                </a:lnTo>
                <a:lnTo>
                  <a:pt x="3563" y="243"/>
                </a:lnTo>
                <a:lnTo>
                  <a:pt x="3569" y="238"/>
                </a:lnTo>
                <a:lnTo>
                  <a:pt x="3576" y="236"/>
                </a:lnTo>
                <a:lnTo>
                  <a:pt x="3586" y="232"/>
                </a:lnTo>
                <a:lnTo>
                  <a:pt x="3602" y="231"/>
                </a:lnTo>
                <a:lnTo>
                  <a:pt x="3602" y="211"/>
                </a:lnTo>
                <a:lnTo>
                  <a:pt x="3437" y="211"/>
                </a:lnTo>
                <a:lnTo>
                  <a:pt x="3437" y="231"/>
                </a:lnTo>
                <a:lnTo>
                  <a:pt x="3437" y="231"/>
                </a:lnTo>
                <a:lnTo>
                  <a:pt x="3451" y="232"/>
                </a:lnTo>
                <a:lnTo>
                  <a:pt x="3464" y="236"/>
                </a:lnTo>
                <a:lnTo>
                  <a:pt x="3472" y="239"/>
                </a:lnTo>
                <a:lnTo>
                  <a:pt x="3481" y="245"/>
                </a:lnTo>
                <a:lnTo>
                  <a:pt x="3488" y="252"/>
                </a:lnTo>
                <a:lnTo>
                  <a:pt x="3493" y="260"/>
                </a:lnTo>
                <a:lnTo>
                  <a:pt x="3506" y="288"/>
                </a:lnTo>
                <a:lnTo>
                  <a:pt x="3506" y="288"/>
                </a:lnTo>
                <a:lnTo>
                  <a:pt x="3562" y="425"/>
                </a:lnTo>
                <a:lnTo>
                  <a:pt x="3616" y="563"/>
                </a:lnTo>
                <a:lnTo>
                  <a:pt x="3637" y="563"/>
                </a:lnTo>
                <a:lnTo>
                  <a:pt x="3637" y="563"/>
                </a:lnTo>
                <a:lnTo>
                  <a:pt x="3668" y="479"/>
                </a:lnTo>
                <a:lnTo>
                  <a:pt x="3700" y="405"/>
                </a:lnTo>
                <a:lnTo>
                  <a:pt x="3749" y="290"/>
                </a:lnTo>
                <a:lnTo>
                  <a:pt x="3749" y="290"/>
                </a:lnTo>
                <a:lnTo>
                  <a:pt x="3763" y="262"/>
                </a:lnTo>
                <a:lnTo>
                  <a:pt x="3770" y="252"/>
                </a:lnTo>
                <a:lnTo>
                  <a:pt x="3777" y="245"/>
                </a:lnTo>
                <a:lnTo>
                  <a:pt x="3783" y="239"/>
                </a:lnTo>
                <a:lnTo>
                  <a:pt x="3794" y="236"/>
                </a:lnTo>
                <a:lnTo>
                  <a:pt x="3804" y="232"/>
                </a:lnTo>
                <a:lnTo>
                  <a:pt x="3818" y="231"/>
                </a:lnTo>
                <a:lnTo>
                  <a:pt x="3818" y="211"/>
                </a:lnTo>
                <a:lnTo>
                  <a:pt x="3677" y="211"/>
                </a:lnTo>
                <a:lnTo>
                  <a:pt x="3677" y="231"/>
                </a:lnTo>
                <a:close/>
                <a:moveTo>
                  <a:pt x="4123" y="321"/>
                </a:moveTo>
                <a:lnTo>
                  <a:pt x="4123" y="321"/>
                </a:lnTo>
                <a:lnTo>
                  <a:pt x="4121" y="309"/>
                </a:lnTo>
                <a:lnTo>
                  <a:pt x="4119" y="299"/>
                </a:lnTo>
                <a:lnTo>
                  <a:pt x="4117" y="286"/>
                </a:lnTo>
                <a:lnTo>
                  <a:pt x="4112" y="276"/>
                </a:lnTo>
                <a:lnTo>
                  <a:pt x="4107" y="266"/>
                </a:lnTo>
                <a:lnTo>
                  <a:pt x="4102" y="257"/>
                </a:lnTo>
                <a:lnTo>
                  <a:pt x="4095" y="246"/>
                </a:lnTo>
                <a:lnTo>
                  <a:pt x="4088" y="238"/>
                </a:lnTo>
                <a:lnTo>
                  <a:pt x="4079" y="231"/>
                </a:lnTo>
                <a:lnTo>
                  <a:pt x="4070" y="224"/>
                </a:lnTo>
                <a:lnTo>
                  <a:pt x="4060" y="217"/>
                </a:lnTo>
                <a:lnTo>
                  <a:pt x="4049" y="211"/>
                </a:lnTo>
                <a:lnTo>
                  <a:pt x="4039" y="208"/>
                </a:lnTo>
                <a:lnTo>
                  <a:pt x="4026" y="204"/>
                </a:lnTo>
                <a:lnTo>
                  <a:pt x="4014" y="203"/>
                </a:lnTo>
                <a:lnTo>
                  <a:pt x="4002" y="201"/>
                </a:lnTo>
                <a:lnTo>
                  <a:pt x="4002" y="201"/>
                </a:lnTo>
                <a:lnTo>
                  <a:pt x="4002" y="201"/>
                </a:lnTo>
                <a:lnTo>
                  <a:pt x="3986" y="203"/>
                </a:lnTo>
                <a:lnTo>
                  <a:pt x="3970" y="206"/>
                </a:lnTo>
                <a:lnTo>
                  <a:pt x="3957" y="210"/>
                </a:lnTo>
                <a:lnTo>
                  <a:pt x="3941" y="217"/>
                </a:lnTo>
                <a:lnTo>
                  <a:pt x="3927" y="225"/>
                </a:lnTo>
                <a:lnTo>
                  <a:pt x="3913" y="234"/>
                </a:lnTo>
                <a:lnTo>
                  <a:pt x="3899" y="246"/>
                </a:lnTo>
                <a:lnTo>
                  <a:pt x="3887" y="259"/>
                </a:lnTo>
                <a:lnTo>
                  <a:pt x="3887" y="259"/>
                </a:lnTo>
                <a:lnTo>
                  <a:pt x="3874" y="273"/>
                </a:lnTo>
                <a:lnTo>
                  <a:pt x="3864" y="288"/>
                </a:lnTo>
                <a:lnTo>
                  <a:pt x="3855" y="304"/>
                </a:lnTo>
                <a:lnTo>
                  <a:pt x="3848" y="320"/>
                </a:lnTo>
                <a:lnTo>
                  <a:pt x="3841" y="339"/>
                </a:lnTo>
                <a:lnTo>
                  <a:pt x="3838" y="356"/>
                </a:lnTo>
                <a:lnTo>
                  <a:pt x="3834" y="376"/>
                </a:lnTo>
                <a:lnTo>
                  <a:pt x="3832" y="397"/>
                </a:lnTo>
                <a:lnTo>
                  <a:pt x="3832" y="397"/>
                </a:lnTo>
                <a:lnTo>
                  <a:pt x="3834" y="412"/>
                </a:lnTo>
                <a:lnTo>
                  <a:pt x="3836" y="428"/>
                </a:lnTo>
                <a:lnTo>
                  <a:pt x="3839" y="444"/>
                </a:lnTo>
                <a:lnTo>
                  <a:pt x="3843" y="459"/>
                </a:lnTo>
                <a:lnTo>
                  <a:pt x="3850" y="473"/>
                </a:lnTo>
                <a:lnTo>
                  <a:pt x="3857" y="487"/>
                </a:lnTo>
                <a:lnTo>
                  <a:pt x="3864" y="501"/>
                </a:lnTo>
                <a:lnTo>
                  <a:pt x="3874" y="514"/>
                </a:lnTo>
                <a:lnTo>
                  <a:pt x="3885" y="524"/>
                </a:lnTo>
                <a:lnTo>
                  <a:pt x="3897" y="535"/>
                </a:lnTo>
                <a:lnTo>
                  <a:pt x="3909" y="542"/>
                </a:lnTo>
                <a:lnTo>
                  <a:pt x="3923" y="550"/>
                </a:lnTo>
                <a:lnTo>
                  <a:pt x="3937" y="556"/>
                </a:lnTo>
                <a:lnTo>
                  <a:pt x="3953" y="559"/>
                </a:lnTo>
                <a:lnTo>
                  <a:pt x="3970" y="563"/>
                </a:lnTo>
                <a:lnTo>
                  <a:pt x="3988" y="563"/>
                </a:lnTo>
                <a:lnTo>
                  <a:pt x="3988" y="563"/>
                </a:lnTo>
                <a:lnTo>
                  <a:pt x="3998" y="563"/>
                </a:lnTo>
                <a:lnTo>
                  <a:pt x="4012" y="561"/>
                </a:lnTo>
                <a:lnTo>
                  <a:pt x="4026" y="556"/>
                </a:lnTo>
                <a:lnTo>
                  <a:pt x="4044" y="549"/>
                </a:lnTo>
                <a:lnTo>
                  <a:pt x="4061" y="538"/>
                </a:lnTo>
                <a:lnTo>
                  <a:pt x="4081" y="526"/>
                </a:lnTo>
                <a:lnTo>
                  <a:pt x="4100" y="508"/>
                </a:lnTo>
                <a:lnTo>
                  <a:pt x="4117" y="487"/>
                </a:lnTo>
                <a:lnTo>
                  <a:pt x="4105" y="470"/>
                </a:lnTo>
                <a:lnTo>
                  <a:pt x="4105" y="470"/>
                </a:lnTo>
                <a:lnTo>
                  <a:pt x="4095" y="480"/>
                </a:lnTo>
                <a:lnTo>
                  <a:pt x="4084" y="487"/>
                </a:lnTo>
                <a:lnTo>
                  <a:pt x="4072" y="494"/>
                </a:lnTo>
                <a:lnTo>
                  <a:pt x="4061" y="500"/>
                </a:lnTo>
                <a:lnTo>
                  <a:pt x="4049" y="505"/>
                </a:lnTo>
                <a:lnTo>
                  <a:pt x="4039" y="507"/>
                </a:lnTo>
                <a:lnTo>
                  <a:pt x="4026" y="508"/>
                </a:lnTo>
                <a:lnTo>
                  <a:pt x="4014" y="510"/>
                </a:lnTo>
                <a:lnTo>
                  <a:pt x="4014" y="510"/>
                </a:lnTo>
                <a:lnTo>
                  <a:pt x="4004" y="510"/>
                </a:lnTo>
                <a:lnTo>
                  <a:pt x="3993" y="508"/>
                </a:lnTo>
                <a:lnTo>
                  <a:pt x="3983" y="505"/>
                </a:lnTo>
                <a:lnTo>
                  <a:pt x="3972" y="501"/>
                </a:lnTo>
                <a:lnTo>
                  <a:pt x="3962" y="496"/>
                </a:lnTo>
                <a:lnTo>
                  <a:pt x="3953" y="491"/>
                </a:lnTo>
                <a:lnTo>
                  <a:pt x="3944" y="482"/>
                </a:lnTo>
                <a:lnTo>
                  <a:pt x="3936" y="475"/>
                </a:lnTo>
                <a:lnTo>
                  <a:pt x="3927" y="465"/>
                </a:lnTo>
                <a:lnTo>
                  <a:pt x="3920" y="454"/>
                </a:lnTo>
                <a:lnTo>
                  <a:pt x="3913" y="442"/>
                </a:lnTo>
                <a:lnTo>
                  <a:pt x="3908" y="428"/>
                </a:lnTo>
                <a:lnTo>
                  <a:pt x="3902" y="412"/>
                </a:lnTo>
                <a:lnTo>
                  <a:pt x="3899" y="397"/>
                </a:lnTo>
                <a:lnTo>
                  <a:pt x="3897" y="379"/>
                </a:lnTo>
                <a:lnTo>
                  <a:pt x="3895" y="360"/>
                </a:lnTo>
                <a:lnTo>
                  <a:pt x="3895" y="360"/>
                </a:lnTo>
                <a:lnTo>
                  <a:pt x="3967" y="356"/>
                </a:lnTo>
                <a:lnTo>
                  <a:pt x="4030" y="353"/>
                </a:lnTo>
                <a:lnTo>
                  <a:pt x="4103" y="346"/>
                </a:lnTo>
                <a:lnTo>
                  <a:pt x="4103" y="346"/>
                </a:lnTo>
                <a:lnTo>
                  <a:pt x="4112" y="342"/>
                </a:lnTo>
                <a:lnTo>
                  <a:pt x="4119" y="337"/>
                </a:lnTo>
                <a:lnTo>
                  <a:pt x="4121" y="330"/>
                </a:lnTo>
                <a:lnTo>
                  <a:pt x="4123" y="321"/>
                </a:lnTo>
                <a:lnTo>
                  <a:pt x="4123" y="321"/>
                </a:lnTo>
                <a:close/>
                <a:moveTo>
                  <a:pt x="4035" y="325"/>
                </a:moveTo>
                <a:lnTo>
                  <a:pt x="4035" y="325"/>
                </a:lnTo>
                <a:lnTo>
                  <a:pt x="3967" y="327"/>
                </a:lnTo>
                <a:lnTo>
                  <a:pt x="3901" y="327"/>
                </a:lnTo>
                <a:lnTo>
                  <a:pt x="3901" y="327"/>
                </a:lnTo>
                <a:lnTo>
                  <a:pt x="3906" y="304"/>
                </a:lnTo>
                <a:lnTo>
                  <a:pt x="3913" y="285"/>
                </a:lnTo>
                <a:lnTo>
                  <a:pt x="3922" y="269"/>
                </a:lnTo>
                <a:lnTo>
                  <a:pt x="3932" y="255"/>
                </a:lnTo>
                <a:lnTo>
                  <a:pt x="3944" y="245"/>
                </a:lnTo>
                <a:lnTo>
                  <a:pt x="3957" y="236"/>
                </a:lnTo>
                <a:lnTo>
                  <a:pt x="3969" y="232"/>
                </a:lnTo>
                <a:lnTo>
                  <a:pt x="3983" y="231"/>
                </a:lnTo>
                <a:lnTo>
                  <a:pt x="3984" y="231"/>
                </a:lnTo>
                <a:lnTo>
                  <a:pt x="3984" y="231"/>
                </a:lnTo>
                <a:lnTo>
                  <a:pt x="3998" y="232"/>
                </a:lnTo>
                <a:lnTo>
                  <a:pt x="4012" y="238"/>
                </a:lnTo>
                <a:lnTo>
                  <a:pt x="4025" y="245"/>
                </a:lnTo>
                <a:lnTo>
                  <a:pt x="4035" y="255"/>
                </a:lnTo>
                <a:lnTo>
                  <a:pt x="4044" y="266"/>
                </a:lnTo>
                <a:lnTo>
                  <a:pt x="4049" y="280"/>
                </a:lnTo>
                <a:lnTo>
                  <a:pt x="4053" y="293"/>
                </a:lnTo>
                <a:lnTo>
                  <a:pt x="4054" y="309"/>
                </a:lnTo>
                <a:lnTo>
                  <a:pt x="4054" y="309"/>
                </a:lnTo>
                <a:lnTo>
                  <a:pt x="4053" y="316"/>
                </a:lnTo>
                <a:lnTo>
                  <a:pt x="4049" y="321"/>
                </a:lnTo>
                <a:lnTo>
                  <a:pt x="4044" y="323"/>
                </a:lnTo>
                <a:lnTo>
                  <a:pt x="4035" y="325"/>
                </a:lnTo>
                <a:lnTo>
                  <a:pt x="4035" y="325"/>
                </a:lnTo>
                <a:close/>
                <a:moveTo>
                  <a:pt x="4386" y="201"/>
                </a:moveTo>
                <a:lnTo>
                  <a:pt x="4386" y="201"/>
                </a:lnTo>
                <a:lnTo>
                  <a:pt x="4372" y="203"/>
                </a:lnTo>
                <a:lnTo>
                  <a:pt x="4358" y="210"/>
                </a:lnTo>
                <a:lnTo>
                  <a:pt x="4344" y="217"/>
                </a:lnTo>
                <a:lnTo>
                  <a:pt x="4332" y="229"/>
                </a:lnTo>
                <a:lnTo>
                  <a:pt x="4320" y="241"/>
                </a:lnTo>
                <a:lnTo>
                  <a:pt x="4310" y="255"/>
                </a:lnTo>
                <a:lnTo>
                  <a:pt x="4290" y="285"/>
                </a:lnTo>
                <a:lnTo>
                  <a:pt x="4289" y="285"/>
                </a:lnTo>
                <a:lnTo>
                  <a:pt x="4289" y="199"/>
                </a:lnTo>
                <a:lnTo>
                  <a:pt x="4289" y="199"/>
                </a:lnTo>
                <a:lnTo>
                  <a:pt x="4261" y="210"/>
                </a:lnTo>
                <a:lnTo>
                  <a:pt x="4233" y="218"/>
                </a:lnTo>
                <a:lnTo>
                  <a:pt x="4205" y="225"/>
                </a:lnTo>
                <a:lnTo>
                  <a:pt x="4177" y="231"/>
                </a:lnTo>
                <a:lnTo>
                  <a:pt x="4177" y="248"/>
                </a:lnTo>
                <a:lnTo>
                  <a:pt x="4177" y="248"/>
                </a:lnTo>
                <a:lnTo>
                  <a:pt x="4191" y="252"/>
                </a:lnTo>
                <a:lnTo>
                  <a:pt x="4203" y="253"/>
                </a:lnTo>
                <a:lnTo>
                  <a:pt x="4212" y="257"/>
                </a:lnTo>
                <a:lnTo>
                  <a:pt x="4217" y="262"/>
                </a:lnTo>
                <a:lnTo>
                  <a:pt x="4222" y="269"/>
                </a:lnTo>
                <a:lnTo>
                  <a:pt x="4224" y="280"/>
                </a:lnTo>
                <a:lnTo>
                  <a:pt x="4226" y="292"/>
                </a:lnTo>
                <a:lnTo>
                  <a:pt x="4226" y="309"/>
                </a:lnTo>
                <a:lnTo>
                  <a:pt x="4226" y="472"/>
                </a:lnTo>
                <a:lnTo>
                  <a:pt x="4226" y="472"/>
                </a:lnTo>
                <a:lnTo>
                  <a:pt x="4226" y="489"/>
                </a:lnTo>
                <a:lnTo>
                  <a:pt x="4224" y="503"/>
                </a:lnTo>
                <a:lnTo>
                  <a:pt x="4220" y="514"/>
                </a:lnTo>
                <a:lnTo>
                  <a:pt x="4217" y="521"/>
                </a:lnTo>
                <a:lnTo>
                  <a:pt x="4210" y="526"/>
                </a:lnTo>
                <a:lnTo>
                  <a:pt x="4199" y="529"/>
                </a:lnTo>
                <a:lnTo>
                  <a:pt x="4187" y="531"/>
                </a:lnTo>
                <a:lnTo>
                  <a:pt x="4170" y="533"/>
                </a:lnTo>
                <a:lnTo>
                  <a:pt x="4170" y="554"/>
                </a:lnTo>
                <a:lnTo>
                  <a:pt x="4353" y="554"/>
                </a:lnTo>
                <a:lnTo>
                  <a:pt x="4353" y="533"/>
                </a:lnTo>
                <a:lnTo>
                  <a:pt x="4353" y="533"/>
                </a:lnTo>
                <a:lnTo>
                  <a:pt x="4332" y="531"/>
                </a:lnTo>
                <a:lnTo>
                  <a:pt x="4318" y="529"/>
                </a:lnTo>
                <a:lnTo>
                  <a:pt x="4306" y="526"/>
                </a:lnTo>
                <a:lnTo>
                  <a:pt x="4297" y="521"/>
                </a:lnTo>
                <a:lnTo>
                  <a:pt x="4292" y="514"/>
                </a:lnTo>
                <a:lnTo>
                  <a:pt x="4290" y="503"/>
                </a:lnTo>
                <a:lnTo>
                  <a:pt x="4289" y="489"/>
                </a:lnTo>
                <a:lnTo>
                  <a:pt x="4289" y="472"/>
                </a:lnTo>
                <a:lnTo>
                  <a:pt x="4289" y="328"/>
                </a:lnTo>
                <a:lnTo>
                  <a:pt x="4289" y="328"/>
                </a:lnTo>
                <a:lnTo>
                  <a:pt x="4296" y="313"/>
                </a:lnTo>
                <a:lnTo>
                  <a:pt x="4303" y="299"/>
                </a:lnTo>
                <a:lnTo>
                  <a:pt x="4311" y="288"/>
                </a:lnTo>
                <a:lnTo>
                  <a:pt x="4318" y="278"/>
                </a:lnTo>
                <a:lnTo>
                  <a:pt x="4327" y="271"/>
                </a:lnTo>
                <a:lnTo>
                  <a:pt x="4336" y="266"/>
                </a:lnTo>
                <a:lnTo>
                  <a:pt x="4344" y="262"/>
                </a:lnTo>
                <a:lnTo>
                  <a:pt x="4351" y="260"/>
                </a:lnTo>
                <a:lnTo>
                  <a:pt x="4351" y="260"/>
                </a:lnTo>
                <a:lnTo>
                  <a:pt x="4360" y="262"/>
                </a:lnTo>
                <a:lnTo>
                  <a:pt x="4369" y="266"/>
                </a:lnTo>
                <a:lnTo>
                  <a:pt x="4378" y="271"/>
                </a:lnTo>
                <a:lnTo>
                  <a:pt x="4385" y="278"/>
                </a:lnTo>
                <a:lnTo>
                  <a:pt x="4385" y="278"/>
                </a:lnTo>
                <a:lnTo>
                  <a:pt x="4390" y="280"/>
                </a:lnTo>
                <a:lnTo>
                  <a:pt x="4393" y="281"/>
                </a:lnTo>
                <a:lnTo>
                  <a:pt x="4400" y="281"/>
                </a:lnTo>
                <a:lnTo>
                  <a:pt x="4407" y="280"/>
                </a:lnTo>
                <a:lnTo>
                  <a:pt x="4407" y="280"/>
                </a:lnTo>
                <a:lnTo>
                  <a:pt x="4418" y="273"/>
                </a:lnTo>
                <a:lnTo>
                  <a:pt x="4425" y="264"/>
                </a:lnTo>
                <a:lnTo>
                  <a:pt x="4430" y="252"/>
                </a:lnTo>
                <a:lnTo>
                  <a:pt x="4432" y="241"/>
                </a:lnTo>
                <a:lnTo>
                  <a:pt x="4432" y="241"/>
                </a:lnTo>
                <a:lnTo>
                  <a:pt x="4432" y="234"/>
                </a:lnTo>
                <a:lnTo>
                  <a:pt x="4428" y="227"/>
                </a:lnTo>
                <a:lnTo>
                  <a:pt x="4425" y="220"/>
                </a:lnTo>
                <a:lnTo>
                  <a:pt x="4420" y="213"/>
                </a:lnTo>
                <a:lnTo>
                  <a:pt x="4413" y="210"/>
                </a:lnTo>
                <a:lnTo>
                  <a:pt x="4404" y="204"/>
                </a:lnTo>
                <a:lnTo>
                  <a:pt x="4395" y="203"/>
                </a:lnTo>
                <a:lnTo>
                  <a:pt x="4386" y="201"/>
                </a:lnTo>
                <a:lnTo>
                  <a:pt x="4386" y="201"/>
                </a:lnTo>
                <a:close/>
                <a:moveTo>
                  <a:pt x="4605" y="348"/>
                </a:moveTo>
                <a:lnTo>
                  <a:pt x="4605" y="348"/>
                </a:lnTo>
                <a:lnTo>
                  <a:pt x="4579" y="335"/>
                </a:lnTo>
                <a:lnTo>
                  <a:pt x="4568" y="328"/>
                </a:lnTo>
                <a:lnTo>
                  <a:pt x="4558" y="321"/>
                </a:lnTo>
                <a:lnTo>
                  <a:pt x="4549" y="313"/>
                </a:lnTo>
                <a:lnTo>
                  <a:pt x="4542" y="302"/>
                </a:lnTo>
                <a:lnTo>
                  <a:pt x="4538" y="292"/>
                </a:lnTo>
                <a:lnTo>
                  <a:pt x="4537" y="280"/>
                </a:lnTo>
                <a:lnTo>
                  <a:pt x="4537" y="280"/>
                </a:lnTo>
                <a:lnTo>
                  <a:pt x="4538" y="269"/>
                </a:lnTo>
                <a:lnTo>
                  <a:pt x="4540" y="259"/>
                </a:lnTo>
                <a:lnTo>
                  <a:pt x="4545" y="250"/>
                </a:lnTo>
                <a:lnTo>
                  <a:pt x="4552" y="241"/>
                </a:lnTo>
                <a:lnTo>
                  <a:pt x="4559" y="234"/>
                </a:lnTo>
                <a:lnTo>
                  <a:pt x="4568" y="231"/>
                </a:lnTo>
                <a:lnTo>
                  <a:pt x="4579" y="227"/>
                </a:lnTo>
                <a:lnTo>
                  <a:pt x="4589" y="225"/>
                </a:lnTo>
                <a:lnTo>
                  <a:pt x="4589" y="225"/>
                </a:lnTo>
                <a:lnTo>
                  <a:pt x="4603" y="227"/>
                </a:lnTo>
                <a:lnTo>
                  <a:pt x="4615" y="231"/>
                </a:lnTo>
                <a:lnTo>
                  <a:pt x="4628" y="238"/>
                </a:lnTo>
                <a:lnTo>
                  <a:pt x="4638" y="246"/>
                </a:lnTo>
                <a:lnTo>
                  <a:pt x="4649" y="259"/>
                </a:lnTo>
                <a:lnTo>
                  <a:pt x="4657" y="273"/>
                </a:lnTo>
                <a:lnTo>
                  <a:pt x="4664" y="286"/>
                </a:lnTo>
                <a:lnTo>
                  <a:pt x="4671" y="304"/>
                </a:lnTo>
                <a:lnTo>
                  <a:pt x="4692" y="299"/>
                </a:lnTo>
                <a:lnTo>
                  <a:pt x="4692" y="299"/>
                </a:lnTo>
                <a:lnTo>
                  <a:pt x="4683" y="257"/>
                </a:lnTo>
                <a:lnTo>
                  <a:pt x="4678" y="232"/>
                </a:lnTo>
                <a:lnTo>
                  <a:pt x="4675" y="215"/>
                </a:lnTo>
                <a:lnTo>
                  <a:pt x="4675" y="215"/>
                </a:lnTo>
                <a:lnTo>
                  <a:pt x="4661" y="210"/>
                </a:lnTo>
                <a:lnTo>
                  <a:pt x="4645" y="206"/>
                </a:lnTo>
                <a:lnTo>
                  <a:pt x="4626" y="203"/>
                </a:lnTo>
                <a:lnTo>
                  <a:pt x="4603" y="201"/>
                </a:lnTo>
                <a:lnTo>
                  <a:pt x="4603" y="201"/>
                </a:lnTo>
                <a:lnTo>
                  <a:pt x="4589" y="203"/>
                </a:lnTo>
                <a:lnTo>
                  <a:pt x="4577" y="203"/>
                </a:lnTo>
                <a:lnTo>
                  <a:pt x="4565" y="206"/>
                </a:lnTo>
                <a:lnTo>
                  <a:pt x="4554" y="210"/>
                </a:lnTo>
                <a:lnTo>
                  <a:pt x="4542" y="213"/>
                </a:lnTo>
                <a:lnTo>
                  <a:pt x="4533" y="218"/>
                </a:lnTo>
                <a:lnTo>
                  <a:pt x="4524" y="225"/>
                </a:lnTo>
                <a:lnTo>
                  <a:pt x="4516" y="231"/>
                </a:lnTo>
                <a:lnTo>
                  <a:pt x="4507" y="239"/>
                </a:lnTo>
                <a:lnTo>
                  <a:pt x="4502" y="246"/>
                </a:lnTo>
                <a:lnTo>
                  <a:pt x="4495" y="255"/>
                </a:lnTo>
                <a:lnTo>
                  <a:pt x="4491" y="264"/>
                </a:lnTo>
                <a:lnTo>
                  <a:pt x="4488" y="273"/>
                </a:lnTo>
                <a:lnTo>
                  <a:pt x="4484" y="283"/>
                </a:lnTo>
                <a:lnTo>
                  <a:pt x="4483" y="292"/>
                </a:lnTo>
                <a:lnTo>
                  <a:pt x="4483" y="302"/>
                </a:lnTo>
                <a:lnTo>
                  <a:pt x="4483" y="302"/>
                </a:lnTo>
                <a:lnTo>
                  <a:pt x="4483" y="313"/>
                </a:lnTo>
                <a:lnTo>
                  <a:pt x="4484" y="323"/>
                </a:lnTo>
                <a:lnTo>
                  <a:pt x="4488" y="334"/>
                </a:lnTo>
                <a:lnTo>
                  <a:pt x="4491" y="342"/>
                </a:lnTo>
                <a:lnTo>
                  <a:pt x="4502" y="358"/>
                </a:lnTo>
                <a:lnTo>
                  <a:pt x="4514" y="370"/>
                </a:lnTo>
                <a:lnTo>
                  <a:pt x="4530" y="383"/>
                </a:lnTo>
                <a:lnTo>
                  <a:pt x="4545" y="393"/>
                </a:lnTo>
                <a:lnTo>
                  <a:pt x="4582" y="411"/>
                </a:lnTo>
                <a:lnTo>
                  <a:pt x="4582" y="411"/>
                </a:lnTo>
                <a:lnTo>
                  <a:pt x="4608" y="425"/>
                </a:lnTo>
                <a:lnTo>
                  <a:pt x="4619" y="431"/>
                </a:lnTo>
                <a:lnTo>
                  <a:pt x="4628" y="440"/>
                </a:lnTo>
                <a:lnTo>
                  <a:pt x="4635" y="449"/>
                </a:lnTo>
                <a:lnTo>
                  <a:pt x="4640" y="459"/>
                </a:lnTo>
                <a:lnTo>
                  <a:pt x="4643" y="470"/>
                </a:lnTo>
                <a:lnTo>
                  <a:pt x="4645" y="482"/>
                </a:lnTo>
                <a:lnTo>
                  <a:pt x="4645" y="482"/>
                </a:lnTo>
                <a:lnTo>
                  <a:pt x="4643" y="494"/>
                </a:lnTo>
                <a:lnTo>
                  <a:pt x="4640" y="505"/>
                </a:lnTo>
                <a:lnTo>
                  <a:pt x="4635" y="514"/>
                </a:lnTo>
                <a:lnTo>
                  <a:pt x="4628" y="522"/>
                </a:lnTo>
                <a:lnTo>
                  <a:pt x="4619" y="529"/>
                </a:lnTo>
                <a:lnTo>
                  <a:pt x="4610" y="533"/>
                </a:lnTo>
                <a:lnTo>
                  <a:pt x="4600" y="536"/>
                </a:lnTo>
                <a:lnTo>
                  <a:pt x="4587" y="538"/>
                </a:lnTo>
                <a:lnTo>
                  <a:pt x="4587" y="538"/>
                </a:lnTo>
                <a:lnTo>
                  <a:pt x="4579" y="536"/>
                </a:lnTo>
                <a:lnTo>
                  <a:pt x="4572" y="535"/>
                </a:lnTo>
                <a:lnTo>
                  <a:pt x="4554" y="529"/>
                </a:lnTo>
                <a:lnTo>
                  <a:pt x="4540" y="521"/>
                </a:lnTo>
                <a:lnTo>
                  <a:pt x="4526" y="508"/>
                </a:lnTo>
                <a:lnTo>
                  <a:pt x="4516" y="494"/>
                </a:lnTo>
                <a:lnTo>
                  <a:pt x="4505" y="477"/>
                </a:lnTo>
                <a:lnTo>
                  <a:pt x="4497" y="459"/>
                </a:lnTo>
                <a:lnTo>
                  <a:pt x="4490" y="440"/>
                </a:lnTo>
                <a:lnTo>
                  <a:pt x="4470" y="444"/>
                </a:lnTo>
                <a:lnTo>
                  <a:pt x="4470" y="444"/>
                </a:lnTo>
                <a:lnTo>
                  <a:pt x="4470" y="468"/>
                </a:lnTo>
                <a:lnTo>
                  <a:pt x="4474" y="496"/>
                </a:lnTo>
                <a:lnTo>
                  <a:pt x="4477" y="521"/>
                </a:lnTo>
                <a:lnTo>
                  <a:pt x="4483" y="536"/>
                </a:lnTo>
                <a:lnTo>
                  <a:pt x="4483" y="536"/>
                </a:lnTo>
                <a:lnTo>
                  <a:pt x="4497" y="545"/>
                </a:lnTo>
                <a:lnTo>
                  <a:pt x="4517" y="554"/>
                </a:lnTo>
                <a:lnTo>
                  <a:pt x="4544" y="561"/>
                </a:lnTo>
                <a:lnTo>
                  <a:pt x="4559" y="563"/>
                </a:lnTo>
                <a:lnTo>
                  <a:pt x="4573" y="563"/>
                </a:lnTo>
                <a:lnTo>
                  <a:pt x="4573" y="563"/>
                </a:lnTo>
                <a:lnTo>
                  <a:pt x="4598" y="561"/>
                </a:lnTo>
                <a:lnTo>
                  <a:pt x="4621" y="556"/>
                </a:lnTo>
                <a:lnTo>
                  <a:pt x="4643" y="549"/>
                </a:lnTo>
                <a:lnTo>
                  <a:pt x="4654" y="542"/>
                </a:lnTo>
                <a:lnTo>
                  <a:pt x="4663" y="536"/>
                </a:lnTo>
                <a:lnTo>
                  <a:pt x="4673" y="529"/>
                </a:lnTo>
                <a:lnTo>
                  <a:pt x="4680" y="521"/>
                </a:lnTo>
                <a:lnTo>
                  <a:pt x="4687" y="512"/>
                </a:lnTo>
                <a:lnTo>
                  <a:pt x="4694" y="501"/>
                </a:lnTo>
                <a:lnTo>
                  <a:pt x="4699" y="491"/>
                </a:lnTo>
                <a:lnTo>
                  <a:pt x="4703" y="480"/>
                </a:lnTo>
                <a:lnTo>
                  <a:pt x="4704" y="468"/>
                </a:lnTo>
                <a:lnTo>
                  <a:pt x="4704" y="454"/>
                </a:lnTo>
                <a:lnTo>
                  <a:pt x="4704" y="454"/>
                </a:lnTo>
                <a:lnTo>
                  <a:pt x="4703" y="435"/>
                </a:lnTo>
                <a:lnTo>
                  <a:pt x="4697" y="419"/>
                </a:lnTo>
                <a:lnTo>
                  <a:pt x="4689" y="404"/>
                </a:lnTo>
                <a:lnTo>
                  <a:pt x="4677" y="390"/>
                </a:lnTo>
                <a:lnTo>
                  <a:pt x="4663" y="379"/>
                </a:lnTo>
                <a:lnTo>
                  <a:pt x="4645" y="367"/>
                </a:lnTo>
                <a:lnTo>
                  <a:pt x="4626" y="358"/>
                </a:lnTo>
                <a:lnTo>
                  <a:pt x="4605" y="348"/>
                </a:lnTo>
                <a:lnTo>
                  <a:pt x="4605" y="348"/>
                </a:lnTo>
                <a:close/>
                <a:moveTo>
                  <a:pt x="4839" y="133"/>
                </a:moveTo>
                <a:lnTo>
                  <a:pt x="4839" y="133"/>
                </a:lnTo>
                <a:lnTo>
                  <a:pt x="4848" y="133"/>
                </a:lnTo>
                <a:lnTo>
                  <a:pt x="4855" y="129"/>
                </a:lnTo>
                <a:lnTo>
                  <a:pt x="4862" y="126"/>
                </a:lnTo>
                <a:lnTo>
                  <a:pt x="4867" y="121"/>
                </a:lnTo>
                <a:lnTo>
                  <a:pt x="4872" y="115"/>
                </a:lnTo>
                <a:lnTo>
                  <a:pt x="4876" y="108"/>
                </a:lnTo>
                <a:lnTo>
                  <a:pt x="4879" y="101"/>
                </a:lnTo>
                <a:lnTo>
                  <a:pt x="4879" y="93"/>
                </a:lnTo>
                <a:lnTo>
                  <a:pt x="4879" y="93"/>
                </a:lnTo>
                <a:lnTo>
                  <a:pt x="4879" y="84"/>
                </a:lnTo>
                <a:lnTo>
                  <a:pt x="4876" y="77"/>
                </a:lnTo>
                <a:lnTo>
                  <a:pt x="4872" y="70"/>
                </a:lnTo>
                <a:lnTo>
                  <a:pt x="4867" y="65"/>
                </a:lnTo>
                <a:lnTo>
                  <a:pt x="4862" y="59"/>
                </a:lnTo>
                <a:lnTo>
                  <a:pt x="4855" y="56"/>
                </a:lnTo>
                <a:lnTo>
                  <a:pt x="4848" y="52"/>
                </a:lnTo>
                <a:lnTo>
                  <a:pt x="4839" y="52"/>
                </a:lnTo>
                <a:lnTo>
                  <a:pt x="4839" y="52"/>
                </a:lnTo>
                <a:lnTo>
                  <a:pt x="4832" y="52"/>
                </a:lnTo>
                <a:lnTo>
                  <a:pt x="4823" y="56"/>
                </a:lnTo>
                <a:lnTo>
                  <a:pt x="4818" y="59"/>
                </a:lnTo>
                <a:lnTo>
                  <a:pt x="4811" y="65"/>
                </a:lnTo>
                <a:lnTo>
                  <a:pt x="4806" y="70"/>
                </a:lnTo>
                <a:lnTo>
                  <a:pt x="4802" y="77"/>
                </a:lnTo>
                <a:lnTo>
                  <a:pt x="4801" y="84"/>
                </a:lnTo>
                <a:lnTo>
                  <a:pt x="4799" y="93"/>
                </a:lnTo>
                <a:lnTo>
                  <a:pt x="4799" y="93"/>
                </a:lnTo>
                <a:lnTo>
                  <a:pt x="4801" y="101"/>
                </a:lnTo>
                <a:lnTo>
                  <a:pt x="4802" y="108"/>
                </a:lnTo>
                <a:lnTo>
                  <a:pt x="4806" y="115"/>
                </a:lnTo>
                <a:lnTo>
                  <a:pt x="4811" y="121"/>
                </a:lnTo>
                <a:lnTo>
                  <a:pt x="4816" y="126"/>
                </a:lnTo>
                <a:lnTo>
                  <a:pt x="4823" y="129"/>
                </a:lnTo>
                <a:lnTo>
                  <a:pt x="4830" y="133"/>
                </a:lnTo>
                <a:lnTo>
                  <a:pt x="4839" y="133"/>
                </a:lnTo>
                <a:lnTo>
                  <a:pt x="4839" y="133"/>
                </a:lnTo>
                <a:close/>
                <a:moveTo>
                  <a:pt x="4876" y="470"/>
                </a:moveTo>
                <a:lnTo>
                  <a:pt x="4876" y="199"/>
                </a:lnTo>
                <a:lnTo>
                  <a:pt x="4876" y="199"/>
                </a:lnTo>
                <a:lnTo>
                  <a:pt x="4848" y="210"/>
                </a:lnTo>
                <a:lnTo>
                  <a:pt x="4822" y="218"/>
                </a:lnTo>
                <a:lnTo>
                  <a:pt x="4792" y="225"/>
                </a:lnTo>
                <a:lnTo>
                  <a:pt x="4762" y="231"/>
                </a:lnTo>
                <a:lnTo>
                  <a:pt x="4762" y="250"/>
                </a:lnTo>
                <a:lnTo>
                  <a:pt x="4762" y="250"/>
                </a:lnTo>
                <a:lnTo>
                  <a:pt x="4778" y="252"/>
                </a:lnTo>
                <a:lnTo>
                  <a:pt x="4790" y="255"/>
                </a:lnTo>
                <a:lnTo>
                  <a:pt x="4799" y="259"/>
                </a:lnTo>
                <a:lnTo>
                  <a:pt x="4806" y="264"/>
                </a:lnTo>
                <a:lnTo>
                  <a:pt x="4809" y="271"/>
                </a:lnTo>
                <a:lnTo>
                  <a:pt x="4811" y="280"/>
                </a:lnTo>
                <a:lnTo>
                  <a:pt x="4813" y="307"/>
                </a:lnTo>
                <a:lnTo>
                  <a:pt x="4813" y="470"/>
                </a:lnTo>
                <a:lnTo>
                  <a:pt x="4813" y="470"/>
                </a:lnTo>
                <a:lnTo>
                  <a:pt x="4813" y="489"/>
                </a:lnTo>
                <a:lnTo>
                  <a:pt x="4811" y="503"/>
                </a:lnTo>
                <a:lnTo>
                  <a:pt x="4808" y="512"/>
                </a:lnTo>
                <a:lnTo>
                  <a:pt x="4804" y="521"/>
                </a:lnTo>
                <a:lnTo>
                  <a:pt x="4797" y="526"/>
                </a:lnTo>
                <a:lnTo>
                  <a:pt x="4787" y="529"/>
                </a:lnTo>
                <a:lnTo>
                  <a:pt x="4774" y="531"/>
                </a:lnTo>
                <a:lnTo>
                  <a:pt x="4757" y="533"/>
                </a:lnTo>
                <a:lnTo>
                  <a:pt x="4757" y="554"/>
                </a:lnTo>
                <a:lnTo>
                  <a:pt x="4932" y="554"/>
                </a:lnTo>
                <a:lnTo>
                  <a:pt x="4932" y="533"/>
                </a:lnTo>
                <a:lnTo>
                  <a:pt x="4932" y="533"/>
                </a:lnTo>
                <a:lnTo>
                  <a:pt x="4914" y="531"/>
                </a:lnTo>
                <a:lnTo>
                  <a:pt x="4902" y="529"/>
                </a:lnTo>
                <a:lnTo>
                  <a:pt x="4891" y="526"/>
                </a:lnTo>
                <a:lnTo>
                  <a:pt x="4884" y="521"/>
                </a:lnTo>
                <a:lnTo>
                  <a:pt x="4879" y="512"/>
                </a:lnTo>
                <a:lnTo>
                  <a:pt x="4877" y="503"/>
                </a:lnTo>
                <a:lnTo>
                  <a:pt x="4876" y="489"/>
                </a:lnTo>
                <a:lnTo>
                  <a:pt x="4876" y="470"/>
                </a:lnTo>
                <a:lnTo>
                  <a:pt x="4876" y="470"/>
                </a:lnTo>
                <a:close/>
                <a:moveTo>
                  <a:pt x="5119" y="519"/>
                </a:moveTo>
                <a:lnTo>
                  <a:pt x="5119" y="519"/>
                </a:lnTo>
                <a:lnTo>
                  <a:pt x="5110" y="517"/>
                </a:lnTo>
                <a:lnTo>
                  <a:pt x="5103" y="515"/>
                </a:lnTo>
                <a:lnTo>
                  <a:pt x="5094" y="512"/>
                </a:lnTo>
                <a:lnTo>
                  <a:pt x="5087" y="505"/>
                </a:lnTo>
                <a:lnTo>
                  <a:pt x="5082" y="494"/>
                </a:lnTo>
                <a:lnTo>
                  <a:pt x="5077" y="482"/>
                </a:lnTo>
                <a:lnTo>
                  <a:pt x="5073" y="465"/>
                </a:lnTo>
                <a:lnTo>
                  <a:pt x="5071" y="444"/>
                </a:lnTo>
                <a:lnTo>
                  <a:pt x="5071" y="241"/>
                </a:lnTo>
                <a:lnTo>
                  <a:pt x="5157" y="241"/>
                </a:lnTo>
                <a:lnTo>
                  <a:pt x="5157" y="241"/>
                </a:lnTo>
                <a:lnTo>
                  <a:pt x="5161" y="239"/>
                </a:lnTo>
                <a:lnTo>
                  <a:pt x="5162" y="236"/>
                </a:lnTo>
                <a:lnTo>
                  <a:pt x="5166" y="227"/>
                </a:lnTo>
                <a:lnTo>
                  <a:pt x="5166" y="218"/>
                </a:lnTo>
                <a:lnTo>
                  <a:pt x="5164" y="215"/>
                </a:lnTo>
                <a:lnTo>
                  <a:pt x="5162" y="211"/>
                </a:lnTo>
                <a:lnTo>
                  <a:pt x="5071" y="211"/>
                </a:lnTo>
                <a:lnTo>
                  <a:pt x="5071" y="103"/>
                </a:lnTo>
                <a:lnTo>
                  <a:pt x="5061" y="101"/>
                </a:lnTo>
                <a:lnTo>
                  <a:pt x="5009" y="154"/>
                </a:lnTo>
                <a:lnTo>
                  <a:pt x="5009" y="211"/>
                </a:lnTo>
                <a:lnTo>
                  <a:pt x="4972" y="211"/>
                </a:lnTo>
                <a:lnTo>
                  <a:pt x="4951" y="234"/>
                </a:lnTo>
                <a:lnTo>
                  <a:pt x="4954" y="241"/>
                </a:lnTo>
                <a:lnTo>
                  <a:pt x="5009" y="241"/>
                </a:lnTo>
                <a:lnTo>
                  <a:pt x="5009" y="470"/>
                </a:lnTo>
                <a:lnTo>
                  <a:pt x="5009" y="470"/>
                </a:lnTo>
                <a:lnTo>
                  <a:pt x="5010" y="491"/>
                </a:lnTo>
                <a:lnTo>
                  <a:pt x="5014" y="510"/>
                </a:lnTo>
                <a:lnTo>
                  <a:pt x="5021" y="526"/>
                </a:lnTo>
                <a:lnTo>
                  <a:pt x="5030" y="540"/>
                </a:lnTo>
                <a:lnTo>
                  <a:pt x="5040" y="550"/>
                </a:lnTo>
                <a:lnTo>
                  <a:pt x="5054" y="557"/>
                </a:lnTo>
                <a:lnTo>
                  <a:pt x="5070" y="563"/>
                </a:lnTo>
                <a:lnTo>
                  <a:pt x="5087" y="563"/>
                </a:lnTo>
                <a:lnTo>
                  <a:pt x="5087" y="563"/>
                </a:lnTo>
                <a:lnTo>
                  <a:pt x="5101" y="561"/>
                </a:lnTo>
                <a:lnTo>
                  <a:pt x="5110" y="557"/>
                </a:lnTo>
                <a:lnTo>
                  <a:pt x="5120" y="554"/>
                </a:lnTo>
                <a:lnTo>
                  <a:pt x="5175" y="526"/>
                </a:lnTo>
                <a:lnTo>
                  <a:pt x="5168" y="505"/>
                </a:lnTo>
                <a:lnTo>
                  <a:pt x="5168" y="505"/>
                </a:lnTo>
                <a:lnTo>
                  <a:pt x="5157" y="510"/>
                </a:lnTo>
                <a:lnTo>
                  <a:pt x="5147" y="514"/>
                </a:lnTo>
                <a:lnTo>
                  <a:pt x="5133" y="517"/>
                </a:lnTo>
                <a:lnTo>
                  <a:pt x="5119" y="519"/>
                </a:lnTo>
                <a:lnTo>
                  <a:pt x="5119" y="519"/>
                </a:lnTo>
                <a:close/>
                <a:moveTo>
                  <a:pt x="5286" y="131"/>
                </a:moveTo>
                <a:lnTo>
                  <a:pt x="5286" y="131"/>
                </a:lnTo>
                <a:lnTo>
                  <a:pt x="5295" y="131"/>
                </a:lnTo>
                <a:lnTo>
                  <a:pt x="5302" y="129"/>
                </a:lnTo>
                <a:lnTo>
                  <a:pt x="5307" y="124"/>
                </a:lnTo>
                <a:lnTo>
                  <a:pt x="5313" y="121"/>
                </a:lnTo>
                <a:lnTo>
                  <a:pt x="5318" y="114"/>
                </a:lnTo>
                <a:lnTo>
                  <a:pt x="5321" y="108"/>
                </a:lnTo>
                <a:lnTo>
                  <a:pt x="5323" y="101"/>
                </a:lnTo>
                <a:lnTo>
                  <a:pt x="5323" y="94"/>
                </a:lnTo>
                <a:lnTo>
                  <a:pt x="5323" y="94"/>
                </a:lnTo>
                <a:lnTo>
                  <a:pt x="5323" y="86"/>
                </a:lnTo>
                <a:lnTo>
                  <a:pt x="5321" y="79"/>
                </a:lnTo>
                <a:lnTo>
                  <a:pt x="5318" y="72"/>
                </a:lnTo>
                <a:lnTo>
                  <a:pt x="5313" y="66"/>
                </a:lnTo>
                <a:lnTo>
                  <a:pt x="5307" y="61"/>
                </a:lnTo>
                <a:lnTo>
                  <a:pt x="5302" y="58"/>
                </a:lnTo>
                <a:lnTo>
                  <a:pt x="5295" y="56"/>
                </a:lnTo>
                <a:lnTo>
                  <a:pt x="5288" y="54"/>
                </a:lnTo>
                <a:lnTo>
                  <a:pt x="5288" y="54"/>
                </a:lnTo>
                <a:lnTo>
                  <a:pt x="5279" y="56"/>
                </a:lnTo>
                <a:lnTo>
                  <a:pt x="5272" y="58"/>
                </a:lnTo>
                <a:lnTo>
                  <a:pt x="5265" y="61"/>
                </a:lnTo>
                <a:lnTo>
                  <a:pt x="5260" y="66"/>
                </a:lnTo>
                <a:lnTo>
                  <a:pt x="5255" y="72"/>
                </a:lnTo>
                <a:lnTo>
                  <a:pt x="5251" y="79"/>
                </a:lnTo>
                <a:lnTo>
                  <a:pt x="5250" y="86"/>
                </a:lnTo>
                <a:lnTo>
                  <a:pt x="5248" y="94"/>
                </a:lnTo>
                <a:lnTo>
                  <a:pt x="5248" y="94"/>
                </a:lnTo>
                <a:lnTo>
                  <a:pt x="5250" y="101"/>
                </a:lnTo>
                <a:lnTo>
                  <a:pt x="5251" y="108"/>
                </a:lnTo>
                <a:lnTo>
                  <a:pt x="5255" y="114"/>
                </a:lnTo>
                <a:lnTo>
                  <a:pt x="5260" y="121"/>
                </a:lnTo>
                <a:lnTo>
                  <a:pt x="5265" y="124"/>
                </a:lnTo>
                <a:lnTo>
                  <a:pt x="5272" y="129"/>
                </a:lnTo>
                <a:lnTo>
                  <a:pt x="5279" y="131"/>
                </a:lnTo>
                <a:lnTo>
                  <a:pt x="5286" y="131"/>
                </a:lnTo>
                <a:lnTo>
                  <a:pt x="5286" y="131"/>
                </a:lnTo>
                <a:close/>
                <a:moveTo>
                  <a:pt x="5421" y="131"/>
                </a:moveTo>
                <a:lnTo>
                  <a:pt x="5421" y="131"/>
                </a:lnTo>
                <a:lnTo>
                  <a:pt x="5428" y="131"/>
                </a:lnTo>
                <a:lnTo>
                  <a:pt x="5435" y="129"/>
                </a:lnTo>
                <a:lnTo>
                  <a:pt x="5442" y="124"/>
                </a:lnTo>
                <a:lnTo>
                  <a:pt x="5447" y="121"/>
                </a:lnTo>
                <a:lnTo>
                  <a:pt x="5452" y="114"/>
                </a:lnTo>
                <a:lnTo>
                  <a:pt x="5456" y="108"/>
                </a:lnTo>
                <a:lnTo>
                  <a:pt x="5458" y="101"/>
                </a:lnTo>
                <a:lnTo>
                  <a:pt x="5458" y="94"/>
                </a:lnTo>
                <a:lnTo>
                  <a:pt x="5458" y="94"/>
                </a:lnTo>
                <a:lnTo>
                  <a:pt x="5458" y="86"/>
                </a:lnTo>
                <a:lnTo>
                  <a:pt x="5456" y="79"/>
                </a:lnTo>
                <a:lnTo>
                  <a:pt x="5452" y="72"/>
                </a:lnTo>
                <a:lnTo>
                  <a:pt x="5447" y="66"/>
                </a:lnTo>
                <a:lnTo>
                  <a:pt x="5442" y="61"/>
                </a:lnTo>
                <a:lnTo>
                  <a:pt x="5435" y="58"/>
                </a:lnTo>
                <a:lnTo>
                  <a:pt x="5428" y="56"/>
                </a:lnTo>
                <a:lnTo>
                  <a:pt x="5421" y="54"/>
                </a:lnTo>
                <a:lnTo>
                  <a:pt x="5421" y="54"/>
                </a:lnTo>
                <a:lnTo>
                  <a:pt x="5414" y="56"/>
                </a:lnTo>
                <a:lnTo>
                  <a:pt x="5405" y="58"/>
                </a:lnTo>
                <a:lnTo>
                  <a:pt x="5400" y="61"/>
                </a:lnTo>
                <a:lnTo>
                  <a:pt x="5393" y="66"/>
                </a:lnTo>
                <a:lnTo>
                  <a:pt x="5390" y="72"/>
                </a:lnTo>
                <a:lnTo>
                  <a:pt x="5386" y="79"/>
                </a:lnTo>
                <a:lnTo>
                  <a:pt x="5384" y="86"/>
                </a:lnTo>
                <a:lnTo>
                  <a:pt x="5383" y="94"/>
                </a:lnTo>
                <a:lnTo>
                  <a:pt x="5383" y="94"/>
                </a:lnTo>
                <a:lnTo>
                  <a:pt x="5384" y="101"/>
                </a:lnTo>
                <a:lnTo>
                  <a:pt x="5386" y="108"/>
                </a:lnTo>
                <a:lnTo>
                  <a:pt x="5390" y="114"/>
                </a:lnTo>
                <a:lnTo>
                  <a:pt x="5393" y="121"/>
                </a:lnTo>
                <a:lnTo>
                  <a:pt x="5400" y="124"/>
                </a:lnTo>
                <a:lnTo>
                  <a:pt x="5405" y="129"/>
                </a:lnTo>
                <a:lnTo>
                  <a:pt x="5412" y="131"/>
                </a:lnTo>
                <a:lnTo>
                  <a:pt x="5421" y="131"/>
                </a:lnTo>
                <a:lnTo>
                  <a:pt x="5421" y="131"/>
                </a:lnTo>
                <a:close/>
                <a:moveTo>
                  <a:pt x="5494" y="512"/>
                </a:moveTo>
                <a:lnTo>
                  <a:pt x="5494" y="512"/>
                </a:lnTo>
                <a:lnTo>
                  <a:pt x="5489" y="510"/>
                </a:lnTo>
                <a:lnTo>
                  <a:pt x="5486" y="508"/>
                </a:lnTo>
                <a:lnTo>
                  <a:pt x="5480" y="507"/>
                </a:lnTo>
                <a:lnTo>
                  <a:pt x="5475" y="501"/>
                </a:lnTo>
                <a:lnTo>
                  <a:pt x="5472" y="494"/>
                </a:lnTo>
                <a:lnTo>
                  <a:pt x="5470" y="487"/>
                </a:lnTo>
                <a:lnTo>
                  <a:pt x="5468" y="477"/>
                </a:lnTo>
                <a:lnTo>
                  <a:pt x="5466" y="465"/>
                </a:lnTo>
                <a:lnTo>
                  <a:pt x="5466" y="318"/>
                </a:lnTo>
                <a:lnTo>
                  <a:pt x="5466" y="318"/>
                </a:lnTo>
                <a:lnTo>
                  <a:pt x="5465" y="290"/>
                </a:lnTo>
                <a:lnTo>
                  <a:pt x="5463" y="276"/>
                </a:lnTo>
                <a:lnTo>
                  <a:pt x="5459" y="264"/>
                </a:lnTo>
                <a:lnTo>
                  <a:pt x="5454" y="252"/>
                </a:lnTo>
                <a:lnTo>
                  <a:pt x="5449" y="241"/>
                </a:lnTo>
                <a:lnTo>
                  <a:pt x="5440" y="232"/>
                </a:lnTo>
                <a:lnTo>
                  <a:pt x="5431" y="222"/>
                </a:lnTo>
                <a:lnTo>
                  <a:pt x="5431" y="222"/>
                </a:lnTo>
                <a:lnTo>
                  <a:pt x="5417" y="213"/>
                </a:lnTo>
                <a:lnTo>
                  <a:pt x="5402" y="206"/>
                </a:lnTo>
                <a:lnTo>
                  <a:pt x="5384" y="203"/>
                </a:lnTo>
                <a:lnTo>
                  <a:pt x="5367" y="201"/>
                </a:lnTo>
                <a:lnTo>
                  <a:pt x="5367" y="201"/>
                </a:lnTo>
                <a:lnTo>
                  <a:pt x="5349" y="206"/>
                </a:lnTo>
                <a:lnTo>
                  <a:pt x="5332" y="211"/>
                </a:lnTo>
                <a:lnTo>
                  <a:pt x="5297" y="225"/>
                </a:lnTo>
                <a:lnTo>
                  <a:pt x="5269" y="243"/>
                </a:lnTo>
                <a:lnTo>
                  <a:pt x="5246" y="257"/>
                </a:lnTo>
                <a:lnTo>
                  <a:pt x="5246" y="257"/>
                </a:lnTo>
                <a:lnTo>
                  <a:pt x="5236" y="264"/>
                </a:lnTo>
                <a:lnTo>
                  <a:pt x="5229" y="273"/>
                </a:lnTo>
                <a:lnTo>
                  <a:pt x="5223" y="280"/>
                </a:lnTo>
                <a:lnTo>
                  <a:pt x="5222" y="288"/>
                </a:lnTo>
                <a:lnTo>
                  <a:pt x="5222" y="288"/>
                </a:lnTo>
                <a:lnTo>
                  <a:pt x="5222" y="293"/>
                </a:lnTo>
                <a:lnTo>
                  <a:pt x="5225" y="300"/>
                </a:lnTo>
                <a:lnTo>
                  <a:pt x="5229" y="306"/>
                </a:lnTo>
                <a:lnTo>
                  <a:pt x="5234" y="311"/>
                </a:lnTo>
                <a:lnTo>
                  <a:pt x="5244" y="318"/>
                </a:lnTo>
                <a:lnTo>
                  <a:pt x="5251" y="321"/>
                </a:lnTo>
                <a:lnTo>
                  <a:pt x="5257" y="321"/>
                </a:lnTo>
                <a:lnTo>
                  <a:pt x="5257" y="321"/>
                </a:lnTo>
                <a:lnTo>
                  <a:pt x="5264" y="320"/>
                </a:lnTo>
                <a:lnTo>
                  <a:pt x="5271" y="316"/>
                </a:lnTo>
                <a:lnTo>
                  <a:pt x="5276" y="311"/>
                </a:lnTo>
                <a:lnTo>
                  <a:pt x="5279" y="302"/>
                </a:lnTo>
                <a:lnTo>
                  <a:pt x="5279" y="302"/>
                </a:lnTo>
                <a:lnTo>
                  <a:pt x="5285" y="286"/>
                </a:lnTo>
                <a:lnTo>
                  <a:pt x="5290" y="273"/>
                </a:lnTo>
                <a:lnTo>
                  <a:pt x="5297" y="260"/>
                </a:lnTo>
                <a:lnTo>
                  <a:pt x="5304" y="252"/>
                </a:lnTo>
                <a:lnTo>
                  <a:pt x="5304" y="252"/>
                </a:lnTo>
                <a:lnTo>
                  <a:pt x="5311" y="245"/>
                </a:lnTo>
                <a:lnTo>
                  <a:pt x="5318" y="241"/>
                </a:lnTo>
                <a:lnTo>
                  <a:pt x="5328" y="238"/>
                </a:lnTo>
                <a:lnTo>
                  <a:pt x="5339" y="236"/>
                </a:lnTo>
                <a:lnTo>
                  <a:pt x="5339" y="236"/>
                </a:lnTo>
                <a:lnTo>
                  <a:pt x="5353" y="238"/>
                </a:lnTo>
                <a:lnTo>
                  <a:pt x="5367" y="241"/>
                </a:lnTo>
                <a:lnTo>
                  <a:pt x="5377" y="250"/>
                </a:lnTo>
                <a:lnTo>
                  <a:pt x="5388" y="259"/>
                </a:lnTo>
                <a:lnTo>
                  <a:pt x="5395" y="273"/>
                </a:lnTo>
                <a:lnTo>
                  <a:pt x="5402" y="286"/>
                </a:lnTo>
                <a:lnTo>
                  <a:pt x="5405" y="304"/>
                </a:lnTo>
                <a:lnTo>
                  <a:pt x="5405" y="325"/>
                </a:lnTo>
                <a:lnTo>
                  <a:pt x="5405" y="339"/>
                </a:lnTo>
                <a:lnTo>
                  <a:pt x="5405" y="339"/>
                </a:lnTo>
                <a:lnTo>
                  <a:pt x="5398" y="344"/>
                </a:lnTo>
                <a:lnTo>
                  <a:pt x="5386" y="351"/>
                </a:lnTo>
                <a:lnTo>
                  <a:pt x="5356" y="363"/>
                </a:lnTo>
                <a:lnTo>
                  <a:pt x="5320" y="377"/>
                </a:lnTo>
                <a:lnTo>
                  <a:pt x="5283" y="390"/>
                </a:lnTo>
                <a:lnTo>
                  <a:pt x="5283" y="390"/>
                </a:lnTo>
                <a:lnTo>
                  <a:pt x="5267" y="397"/>
                </a:lnTo>
                <a:lnTo>
                  <a:pt x="5255" y="404"/>
                </a:lnTo>
                <a:lnTo>
                  <a:pt x="5243" y="411"/>
                </a:lnTo>
                <a:lnTo>
                  <a:pt x="5234" y="419"/>
                </a:lnTo>
                <a:lnTo>
                  <a:pt x="5227" y="430"/>
                </a:lnTo>
                <a:lnTo>
                  <a:pt x="5222" y="442"/>
                </a:lnTo>
                <a:lnTo>
                  <a:pt x="5220" y="454"/>
                </a:lnTo>
                <a:lnTo>
                  <a:pt x="5218" y="468"/>
                </a:lnTo>
                <a:lnTo>
                  <a:pt x="5218" y="468"/>
                </a:lnTo>
                <a:lnTo>
                  <a:pt x="5220" y="486"/>
                </a:lnTo>
                <a:lnTo>
                  <a:pt x="5225" y="503"/>
                </a:lnTo>
                <a:lnTo>
                  <a:pt x="5234" y="519"/>
                </a:lnTo>
                <a:lnTo>
                  <a:pt x="5244" y="535"/>
                </a:lnTo>
                <a:lnTo>
                  <a:pt x="5258" y="547"/>
                </a:lnTo>
                <a:lnTo>
                  <a:pt x="5274" y="556"/>
                </a:lnTo>
                <a:lnTo>
                  <a:pt x="5293" y="561"/>
                </a:lnTo>
                <a:lnTo>
                  <a:pt x="5304" y="563"/>
                </a:lnTo>
                <a:lnTo>
                  <a:pt x="5314" y="563"/>
                </a:lnTo>
                <a:lnTo>
                  <a:pt x="5314" y="563"/>
                </a:lnTo>
                <a:lnTo>
                  <a:pt x="5323" y="563"/>
                </a:lnTo>
                <a:lnTo>
                  <a:pt x="5334" y="559"/>
                </a:lnTo>
                <a:lnTo>
                  <a:pt x="5346" y="552"/>
                </a:lnTo>
                <a:lnTo>
                  <a:pt x="5358" y="547"/>
                </a:lnTo>
                <a:lnTo>
                  <a:pt x="5383" y="529"/>
                </a:lnTo>
                <a:lnTo>
                  <a:pt x="5407" y="514"/>
                </a:lnTo>
                <a:lnTo>
                  <a:pt x="5407" y="514"/>
                </a:lnTo>
                <a:lnTo>
                  <a:pt x="5410" y="522"/>
                </a:lnTo>
                <a:lnTo>
                  <a:pt x="5414" y="531"/>
                </a:lnTo>
                <a:lnTo>
                  <a:pt x="5419" y="540"/>
                </a:lnTo>
                <a:lnTo>
                  <a:pt x="5426" y="549"/>
                </a:lnTo>
                <a:lnTo>
                  <a:pt x="5426" y="549"/>
                </a:lnTo>
                <a:lnTo>
                  <a:pt x="5435" y="554"/>
                </a:lnTo>
                <a:lnTo>
                  <a:pt x="5444" y="559"/>
                </a:lnTo>
                <a:lnTo>
                  <a:pt x="5454" y="563"/>
                </a:lnTo>
                <a:lnTo>
                  <a:pt x="5465" y="563"/>
                </a:lnTo>
                <a:lnTo>
                  <a:pt x="5531" y="522"/>
                </a:lnTo>
                <a:lnTo>
                  <a:pt x="5524" y="503"/>
                </a:lnTo>
                <a:lnTo>
                  <a:pt x="5524" y="503"/>
                </a:lnTo>
                <a:lnTo>
                  <a:pt x="5510" y="508"/>
                </a:lnTo>
                <a:lnTo>
                  <a:pt x="5503" y="510"/>
                </a:lnTo>
                <a:lnTo>
                  <a:pt x="5494" y="512"/>
                </a:lnTo>
                <a:lnTo>
                  <a:pt x="5494" y="512"/>
                </a:lnTo>
                <a:close/>
                <a:moveTo>
                  <a:pt x="5405" y="487"/>
                </a:moveTo>
                <a:lnTo>
                  <a:pt x="5405" y="487"/>
                </a:lnTo>
                <a:lnTo>
                  <a:pt x="5393" y="498"/>
                </a:lnTo>
                <a:lnTo>
                  <a:pt x="5376" y="507"/>
                </a:lnTo>
                <a:lnTo>
                  <a:pt x="5358" y="514"/>
                </a:lnTo>
                <a:lnTo>
                  <a:pt x="5342" y="515"/>
                </a:lnTo>
                <a:lnTo>
                  <a:pt x="5342" y="515"/>
                </a:lnTo>
                <a:lnTo>
                  <a:pt x="5332" y="515"/>
                </a:lnTo>
                <a:lnTo>
                  <a:pt x="5323" y="512"/>
                </a:lnTo>
                <a:lnTo>
                  <a:pt x="5314" y="508"/>
                </a:lnTo>
                <a:lnTo>
                  <a:pt x="5306" y="501"/>
                </a:lnTo>
                <a:lnTo>
                  <a:pt x="5297" y="493"/>
                </a:lnTo>
                <a:lnTo>
                  <a:pt x="5292" y="482"/>
                </a:lnTo>
                <a:lnTo>
                  <a:pt x="5286" y="470"/>
                </a:lnTo>
                <a:lnTo>
                  <a:pt x="5286" y="456"/>
                </a:lnTo>
                <a:lnTo>
                  <a:pt x="5286" y="456"/>
                </a:lnTo>
                <a:lnTo>
                  <a:pt x="5286" y="445"/>
                </a:lnTo>
                <a:lnTo>
                  <a:pt x="5288" y="437"/>
                </a:lnTo>
                <a:lnTo>
                  <a:pt x="5293" y="428"/>
                </a:lnTo>
                <a:lnTo>
                  <a:pt x="5299" y="421"/>
                </a:lnTo>
                <a:lnTo>
                  <a:pt x="5306" y="416"/>
                </a:lnTo>
                <a:lnTo>
                  <a:pt x="5314" y="409"/>
                </a:lnTo>
                <a:lnTo>
                  <a:pt x="5334" y="398"/>
                </a:lnTo>
                <a:lnTo>
                  <a:pt x="5334" y="398"/>
                </a:lnTo>
                <a:lnTo>
                  <a:pt x="5370" y="383"/>
                </a:lnTo>
                <a:lnTo>
                  <a:pt x="5405" y="365"/>
                </a:lnTo>
                <a:lnTo>
                  <a:pt x="5405" y="487"/>
                </a:lnTo>
                <a:close/>
                <a:moveTo>
                  <a:pt x="5753" y="505"/>
                </a:moveTo>
                <a:lnTo>
                  <a:pt x="5753" y="505"/>
                </a:lnTo>
                <a:lnTo>
                  <a:pt x="5744" y="510"/>
                </a:lnTo>
                <a:lnTo>
                  <a:pt x="5732" y="514"/>
                </a:lnTo>
                <a:lnTo>
                  <a:pt x="5718" y="517"/>
                </a:lnTo>
                <a:lnTo>
                  <a:pt x="5704" y="519"/>
                </a:lnTo>
                <a:lnTo>
                  <a:pt x="5704" y="519"/>
                </a:lnTo>
                <a:lnTo>
                  <a:pt x="5697" y="517"/>
                </a:lnTo>
                <a:lnTo>
                  <a:pt x="5688" y="515"/>
                </a:lnTo>
                <a:lnTo>
                  <a:pt x="5681" y="512"/>
                </a:lnTo>
                <a:lnTo>
                  <a:pt x="5674" y="505"/>
                </a:lnTo>
                <a:lnTo>
                  <a:pt x="5667" y="494"/>
                </a:lnTo>
                <a:lnTo>
                  <a:pt x="5662" y="482"/>
                </a:lnTo>
                <a:lnTo>
                  <a:pt x="5659" y="465"/>
                </a:lnTo>
                <a:lnTo>
                  <a:pt x="5659" y="444"/>
                </a:lnTo>
                <a:lnTo>
                  <a:pt x="5659" y="241"/>
                </a:lnTo>
                <a:lnTo>
                  <a:pt x="5743" y="241"/>
                </a:lnTo>
                <a:lnTo>
                  <a:pt x="5743" y="241"/>
                </a:lnTo>
                <a:lnTo>
                  <a:pt x="5746" y="239"/>
                </a:lnTo>
                <a:lnTo>
                  <a:pt x="5750" y="236"/>
                </a:lnTo>
                <a:lnTo>
                  <a:pt x="5751" y="227"/>
                </a:lnTo>
                <a:lnTo>
                  <a:pt x="5751" y="218"/>
                </a:lnTo>
                <a:lnTo>
                  <a:pt x="5750" y="215"/>
                </a:lnTo>
                <a:lnTo>
                  <a:pt x="5748" y="211"/>
                </a:lnTo>
                <a:lnTo>
                  <a:pt x="5659" y="211"/>
                </a:lnTo>
                <a:lnTo>
                  <a:pt x="5659" y="103"/>
                </a:lnTo>
                <a:lnTo>
                  <a:pt x="5646" y="101"/>
                </a:lnTo>
                <a:lnTo>
                  <a:pt x="5596" y="154"/>
                </a:lnTo>
                <a:lnTo>
                  <a:pt x="5596" y="211"/>
                </a:lnTo>
                <a:lnTo>
                  <a:pt x="5559" y="211"/>
                </a:lnTo>
                <a:lnTo>
                  <a:pt x="5536" y="234"/>
                </a:lnTo>
                <a:lnTo>
                  <a:pt x="5540" y="241"/>
                </a:lnTo>
                <a:lnTo>
                  <a:pt x="5596" y="241"/>
                </a:lnTo>
                <a:lnTo>
                  <a:pt x="5596" y="470"/>
                </a:lnTo>
                <a:lnTo>
                  <a:pt x="5596" y="470"/>
                </a:lnTo>
                <a:lnTo>
                  <a:pt x="5596" y="491"/>
                </a:lnTo>
                <a:lnTo>
                  <a:pt x="5601" y="510"/>
                </a:lnTo>
                <a:lnTo>
                  <a:pt x="5606" y="526"/>
                </a:lnTo>
                <a:lnTo>
                  <a:pt x="5615" y="540"/>
                </a:lnTo>
                <a:lnTo>
                  <a:pt x="5627" y="550"/>
                </a:lnTo>
                <a:lnTo>
                  <a:pt x="5639" y="557"/>
                </a:lnTo>
                <a:lnTo>
                  <a:pt x="5655" y="563"/>
                </a:lnTo>
                <a:lnTo>
                  <a:pt x="5673" y="563"/>
                </a:lnTo>
                <a:lnTo>
                  <a:pt x="5673" y="563"/>
                </a:lnTo>
                <a:lnTo>
                  <a:pt x="5687" y="561"/>
                </a:lnTo>
                <a:lnTo>
                  <a:pt x="5697" y="557"/>
                </a:lnTo>
                <a:lnTo>
                  <a:pt x="5706" y="554"/>
                </a:lnTo>
                <a:lnTo>
                  <a:pt x="5760" y="526"/>
                </a:lnTo>
                <a:lnTo>
                  <a:pt x="5753" y="505"/>
                </a:lnTo>
                <a:close/>
                <a:moveTo>
                  <a:pt x="1480" y="145"/>
                </a:moveTo>
                <a:lnTo>
                  <a:pt x="2066" y="145"/>
                </a:lnTo>
                <a:lnTo>
                  <a:pt x="2066" y="5"/>
                </a:lnTo>
                <a:lnTo>
                  <a:pt x="1480" y="5"/>
                </a:lnTo>
                <a:lnTo>
                  <a:pt x="1480" y="145"/>
                </a:lnTo>
                <a:close/>
                <a:moveTo>
                  <a:pt x="1480" y="349"/>
                </a:moveTo>
                <a:lnTo>
                  <a:pt x="2066" y="349"/>
                </a:lnTo>
                <a:lnTo>
                  <a:pt x="2066" y="210"/>
                </a:lnTo>
                <a:lnTo>
                  <a:pt x="1480" y="210"/>
                </a:lnTo>
                <a:lnTo>
                  <a:pt x="1480" y="349"/>
                </a:lnTo>
                <a:close/>
                <a:moveTo>
                  <a:pt x="1480" y="554"/>
                </a:moveTo>
                <a:lnTo>
                  <a:pt x="2066" y="554"/>
                </a:lnTo>
                <a:lnTo>
                  <a:pt x="2066" y="414"/>
                </a:lnTo>
                <a:lnTo>
                  <a:pt x="1480" y="414"/>
                </a:lnTo>
                <a:lnTo>
                  <a:pt x="1480" y="554"/>
                </a:lnTo>
                <a:close/>
                <a:moveTo>
                  <a:pt x="790" y="257"/>
                </a:moveTo>
                <a:lnTo>
                  <a:pt x="790" y="255"/>
                </a:lnTo>
                <a:lnTo>
                  <a:pt x="790" y="255"/>
                </a:lnTo>
                <a:lnTo>
                  <a:pt x="813" y="250"/>
                </a:lnTo>
                <a:lnTo>
                  <a:pt x="834" y="243"/>
                </a:lnTo>
                <a:lnTo>
                  <a:pt x="856" y="232"/>
                </a:lnTo>
                <a:lnTo>
                  <a:pt x="876" y="220"/>
                </a:lnTo>
                <a:lnTo>
                  <a:pt x="884" y="213"/>
                </a:lnTo>
                <a:lnTo>
                  <a:pt x="893" y="204"/>
                </a:lnTo>
                <a:lnTo>
                  <a:pt x="900" y="194"/>
                </a:lnTo>
                <a:lnTo>
                  <a:pt x="907" y="185"/>
                </a:lnTo>
                <a:lnTo>
                  <a:pt x="910" y="173"/>
                </a:lnTo>
                <a:lnTo>
                  <a:pt x="916" y="162"/>
                </a:lnTo>
                <a:lnTo>
                  <a:pt x="917" y="150"/>
                </a:lnTo>
                <a:lnTo>
                  <a:pt x="917" y="136"/>
                </a:lnTo>
                <a:lnTo>
                  <a:pt x="917" y="136"/>
                </a:lnTo>
                <a:lnTo>
                  <a:pt x="917" y="121"/>
                </a:lnTo>
                <a:lnTo>
                  <a:pt x="914" y="105"/>
                </a:lnTo>
                <a:lnTo>
                  <a:pt x="910" y="93"/>
                </a:lnTo>
                <a:lnTo>
                  <a:pt x="905" y="80"/>
                </a:lnTo>
                <a:lnTo>
                  <a:pt x="898" y="68"/>
                </a:lnTo>
                <a:lnTo>
                  <a:pt x="888" y="58"/>
                </a:lnTo>
                <a:lnTo>
                  <a:pt x="877" y="49"/>
                </a:lnTo>
                <a:lnTo>
                  <a:pt x="867" y="42"/>
                </a:lnTo>
                <a:lnTo>
                  <a:pt x="853" y="35"/>
                </a:lnTo>
                <a:lnTo>
                  <a:pt x="839" y="28"/>
                </a:lnTo>
                <a:lnTo>
                  <a:pt x="821" y="24"/>
                </a:lnTo>
                <a:lnTo>
                  <a:pt x="804" y="19"/>
                </a:lnTo>
                <a:lnTo>
                  <a:pt x="786" y="17"/>
                </a:lnTo>
                <a:lnTo>
                  <a:pt x="765" y="16"/>
                </a:lnTo>
                <a:lnTo>
                  <a:pt x="722" y="14"/>
                </a:lnTo>
                <a:lnTo>
                  <a:pt x="477" y="14"/>
                </a:lnTo>
                <a:lnTo>
                  <a:pt x="477" y="40"/>
                </a:lnTo>
                <a:lnTo>
                  <a:pt x="477" y="40"/>
                </a:lnTo>
                <a:lnTo>
                  <a:pt x="496" y="42"/>
                </a:lnTo>
                <a:lnTo>
                  <a:pt x="512" y="45"/>
                </a:lnTo>
                <a:lnTo>
                  <a:pt x="524" y="51"/>
                </a:lnTo>
                <a:lnTo>
                  <a:pt x="530" y="54"/>
                </a:lnTo>
                <a:lnTo>
                  <a:pt x="533" y="58"/>
                </a:lnTo>
                <a:lnTo>
                  <a:pt x="537" y="65"/>
                </a:lnTo>
                <a:lnTo>
                  <a:pt x="540" y="70"/>
                </a:lnTo>
                <a:lnTo>
                  <a:pt x="542" y="87"/>
                </a:lnTo>
                <a:lnTo>
                  <a:pt x="543" y="110"/>
                </a:lnTo>
                <a:lnTo>
                  <a:pt x="545" y="140"/>
                </a:lnTo>
                <a:lnTo>
                  <a:pt x="543" y="554"/>
                </a:lnTo>
                <a:lnTo>
                  <a:pt x="701" y="554"/>
                </a:lnTo>
                <a:lnTo>
                  <a:pt x="701" y="554"/>
                </a:lnTo>
                <a:lnTo>
                  <a:pt x="750" y="552"/>
                </a:lnTo>
                <a:lnTo>
                  <a:pt x="774" y="550"/>
                </a:lnTo>
                <a:lnTo>
                  <a:pt x="797" y="547"/>
                </a:lnTo>
                <a:lnTo>
                  <a:pt x="818" y="542"/>
                </a:lnTo>
                <a:lnTo>
                  <a:pt x="839" y="536"/>
                </a:lnTo>
                <a:lnTo>
                  <a:pt x="856" y="529"/>
                </a:lnTo>
                <a:lnTo>
                  <a:pt x="874" y="521"/>
                </a:lnTo>
                <a:lnTo>
                  <a:pt x="874" y="521"/>
                </a:lnTo>
                <a:lnTo>
                  <a:pt x="891" y="510"/>
                </a:lnTo>
                <a:lnTo>
                  <a:pt x="905" y="500"/>
                </a:lnTo>
                <a:lnTo>
                  <a:pt x="919" y="486"/>
                </a:lnTo>
                <a:lnTo>
                  <a:pt x="930" y="472"/>
                </a:lnTo>
                <a:lnTo>
                  <a:pt x="940" y="454"/>
                </a:lnTo>
                <a:lnTo>
                  <a:pt x="945" y="437"/>
                </a:lnTo>
                <a:lnTo>
                  <a:pt x="951" y="418"/>
                </a:lnTo>
                <a:lnTo>
                  <a:pt x="952" y="395"/>
                </a:lnTo>
                <a:lnTo>
                  <a:pt x="952" y="395"/>
                </a:lnTo>
                <a:lnTo>
                  <a:pt x="951" y="381"/>
                </a:lnTo>
                <a:lnTo>
                  <a:pt x="949" y="365"/>
                </a:lnTo>
                <a:lnTo>
                  <a:pt x="945" y="353"/>
                </a:lnTo>
                <a:lnTo>
                  <a:pt x="940" y="341"/>
                </a:lnTo>
                <a:lnTo>
                  <a:pt x="933" y="328"/>
                </a:lnTo>
                <a:lnTo>
                  <a:pt x="924" y="318"/>
                </a:lnTo>
                <a:lnTo>
                  <a:pt x="916" y="307"/>
                </a:lnTo>
                <a:lnTo>
                  <a:pt x="905" y="299"/>
                </a:lnTo>
                <a:lnTo>
                  <a:pt x="895" y="290"/>
                </a:lnTo>
                <a:lnTo>
                  <a:pt x="883" y="283"/>
                </a:lnTo>
                <a:lnTo>
                  <a:pt x="869" y="276"/>
                </a:lnTo>
                <a:lnTo>
                  <a:pt x="855" y="271"/>
                </a:lnTo>
                <a:lnTo>
                  <a:pt x="823" y="262"/>
                </a:lnTo>
                <a:lnTo>
                  <a:pt x="790" y="257"/>
                </a:lnTo>
                <a:lnTo>
                  <a:pt x="790" y="257"/>
                </a:lnTo>
                <a:close/>
                <a:moveTo>
                  <a:pt x="655" y="98"/>
                </a:moveTo>
                <a:lnTo>
                  <a:pt x="655" y="98"/>
                </a:lnTo>
                <a:lnTo>
                  <a:pt x="657" y="68"/>
                </a:lnTo>
                <a:lnTo>
                  <a:pt x="659" y="59"/>
                </a:lnTo>
                <a:lnTo>
                  <a:pt x="661" y="54"/>
                </a:lnTo>
                <a:lnTo>
                  <a:pt x="661" y="54"/>
                </a:lnTo>
                <a:lnTo>
                  <a:pt x="666" y="52"/>
                </a:lnTo>
                <a:lnTo>
                  <a:pt x="675" y="51"/>
                </a:lnTo>
                <a:lnTo>
                  <a:pt x="697" y="49"/>
                </a:lnTo>
                <a:lnTo>
                  <a:pt x="697" y="49"/>
                </a:lnTo>
                <a:lnTo>
                  <a:pt x="717" y="51"/>
                </a:lnTo>
                <a:lnTo>
                  <a:pt x="734" y="54"/>
                </a:lnTo>
                <a:lnTo>
                  <a:pt x="751" y="59"/>
                </a:lnTo>
                <a:lnTo>
                  <a:pt x="765" y="70"/>
                </a:lnTo>
                <a:lnTo>
                  <a:pt x="772" y="75"/>
                </a:lnTo>
                <a:lnTo>
                  <a:pt x="779" y="82"/>
                </a:lnTo>
                <a:lnTo>
                  <a:pt x="785" y="91"/>
                </a:lnTo>
                <a:lnTo>
                  <a:pt x="790" y="100"/>
                </a:lnTo>
                <a:lnTo>
                  <a:pt x="793" y="110"/>
                </a:lnTo>
                <a:lnTo>
                  <a:pt x="797" y="122"/>
                </a:lnTo>
                <a:lnTo>
                  <a:pt x="799" y="135"/>
                </a:lnTo>
                <a:lnTo>
                  <a:pt x="799" y="148"/>
                </a:lnTo>
                <a:lnTo>
                  <a:pt x="799" y="148"/>
                </a:lnTo>
                <a:lnTo>
                  <a:pt x="799" y="161"/>
                </a:lnTo>
                <a:lnTo>
                  <a:pt x="797" y="173"/>
                </a:lnTo>
                <a:lnTo>
                  <a:pt x="793" y="183"/>
                </a:lnTo>
                <a:lnTo>
                  <a:pt x="790" y="192"/>
                </a:lnTo>
                <a:lnTo>
                  <a:pt x="786" y="201"/>
                </a:lnTo>
                <a:lnTo>
                  <a:pt x="781" y="210"/>
                </a:lnTo>
                <a:lnTo>
                  <a:pt x="774" y="217"/>
                </a:lnTo>
                <a:lnTo>
                  <a:pt x="767" y="224"/>
                </a:lnTo>
                <a:lnTo>
                  <a:pt x="758" y="229"/>
                </a:lnTo>
                <a:lnTo>
                  <a:pt x="750" y="234"/>
                </a:lnTo>
                <a:lnTo>
                  <a:pt x="729" y="241"/>
                </a:lnTo>
                <a:lnTo>
                  <a:pt x="704" y="246"/>
                </a:lnTo>
                <a:lnTo>
                  <a:pt x="676" y="248"/>
                </a:lnTo>
                <a:lnTo>
                  <a:pt x="655" y="248"/>
                </a:lnTo>
                <a:lnTo>
                  <a:pt x="655" y="98"/>
                </a:lnTo>
                <a:close/>
                <a:moveTo>
                  <a:pt x="715" y="519"/>
                </a:moveTo>
                <a:lnTo>
                  <a:pt x="715" y="519"/>
                </a:lnTo>
                <a:lnTo>
                  <a:pt x="699" y="517"/>
                </a:lnTo>
                <a:lnTo>
                  <a:pt x="685" y="515"/>
                </a:lnTo>
                <a:lnTo>
                  <a:pt x="675" y="508"/>
                </a:lnTo>
                <a:lnTo>
                  <a:pt x="668" y="500"/>
                </a:lnTo>
                <a:lnTo>
                  <a:pt x="661" y="487"/>
                </a:lnTo>
                <a:lnTo>
                  <a:pt x="657" y="472"/>
                </a:lnTo>
                <a:lnTo>
                  <a:pt x="655" y="449"/>
                </a:lnTo>
                <a:lnTo>
                  <a:pt x="655" y="423"/>
                </a:lnTo>
                <a:lnTo>
                  <a:pt x="655" y="281"/>
                </a:lnTo>
                <a:lnTo>
                  <a:pt x="673" y="281"/>
                </a:lnTo>
                <a:lnTo>
                  <a:pt x="673" y="281"/>
                </a:lnTo>
                <a:lnTo>
                  <a:pt x="706" y="283"/>
                </a:lnTo>
                <a:lnTo>
                  <a:pt x="720" y="286"/>
                </a:lnTo>
                <a:lnTo>
                  <a:pt x="736" y="288"/>
                </a:lnTo>
                <a:lnTo>
                  <a:pt x="748" y="293"/>
                </a:lnTo>
                <a:lnTo>
                  <a:pt x="762" y="299"/>
                </a:lnTo>
                <a:lnTo>
                  <a:pt x="772" y="304"/>
                </a:lnTo>
                <a:lnTo>
                  <a:pt x="783" y="311"/>
                </a:lnTo>
                <a:lnTo>
                  <a:pt x="793" y="320"/>
                </a:lnTo>
                <a:lnTo>
                  <a:pt x="800" y="328"/>
                </a:lnTo>
                <a:lnTo>
                  <a:pt x="807" y="337"/>
                </a:lnTo>
                <a:lnTo>
                  <a:pt x="814" y="349"/>
                </a:lnTo>
                <a:lnTo>
                  <a:pt x="820" y="362"/>
                </a:lnTo>
                <a:lnTo>
                  <a:pt x="823" y="374"/>
                </a:lnTo>
                <a:lnTo>
                  <a:pt x="825" y="388"/>
                </a:lnTo>
                <a:lnTo>
                  <a:pt x="825" y="404"/>
                </a:lnTo>
                <a:lnTo>
                  <a:pt x="825" y="404"/>
                </a:lnTo>
                <a:lnTo>
                  <a:pt x="825" y="419"/>
                </a:lnTo>
                <a:lnTo>
                  <a:pt x="823" y="433"/>
                </a:lnTo>
                <a:lnTo>
                  <a:pt x="820" y="445"/>
                </a:lnTo>
                <a:lnTo>
                  <a:pt x="814" y="458"/>
                </a:lnTo>
                <a:lnTo>
                  <a:pt x="809" y="468"/>
                </a:lnTo>
                <a:lnTo>
                  <a:pt x="804" y="477"/>
                </a:lnTo>
                <a:lnTo>
                  <a:pt x="797" y="486"/>
                </a:lnTo>
                <a:lnTo>
                  <a:pt x="790" y="493"/>
                </a:lnTo>
                <a:lnTo>
                  <a:pt x="781" y="500"/>
                </a:lnTo>
                <a:lnTo>
                  <a:pt x="772" y="505"/>
                </a:lnTo>
                <a:lnTo>
                  <a:pt x="753" y="512"/>
                </a:lnTo>
                <a:lnTo>
                  <a:pt x="734" y="517"/>
                </a:lnTo>
                <a:lnTo>
                  <a:pt x="715" y="519"/>
                </a:lnTo>
                <a:lnTo>
                  <a:pt x="715" y="519"/>
                </a:lnTo>
                <a:close/>
                <a:moveTo>
                  <a:pt x="1216" y="231"/>
                </a:moveTo>
                <a:lnTo>
                  <a:pt x="1188" y="220"/>
                </a:lnTo>
                <a:lnTo>
                  <a:pt x="1188" y="220"/>
                </a:lnTo>
                <a:lnTo>
                  <a:pt x="1166" y="210"/>
                </a:lnTo>
                <a:lnTo>
                  <a:pt x="1146" y="199"/>
                </a:lnTo>
                <a:lnTo>
                  <a:pt x="1131" y="189"/>
                </a:lnTo>
                <a:lnTo>
                  <a:pt x="1117" y="176"/>
                </a:lnTo>
                <a:lnTo>
                  <a:pt x="1106" y="164"/>
                </a:lnTo>
                <a:lnTo>
                  <a:pt x="1097" y="150"/>
                </a:lnTo>
                <a:lnTo>
                  <a:pt x="1094" y="136"/>
                </a:lnTo>
                <a:lnTo>
                  <a:pt x="1092" y="121"/>
                </a:lnTo>
                <a:lnTo>
                  <a:pt x="1092" y="121"/>
                </a:lnTo>
                <a:lnTo>
                  <a:pt x="1094" y="105"/>
                </a:lnTo>
                <a:lnTo>
                  <a:pt x="1097" y="89"/>
                </a:lnTo>
                <a:lnTo>
                  <a:pt x="1104" y="75"/>
                </a:lnTo>
                <a:lnTo>
                  <a:pt x="1115" y="63"/>
                </a:lnTo>
                <a:lnTo>
                  <a:pt x="1127" y="52"/>
                </a:lnTo>
                <a:lnTo>
                  <a:pt x="1141" y="45"/>
                </a:lnTo>
                <a:lnTo>
                  <a:pt x="1159" y="40"/>
                </a:lnTo>
                <a:lnTo>
                  <a:pt x="1178" y="38"/>
                </a:lnTo>
                <a:lnTo>
                  <a:pt x="1178" y="38"/>
                </a:lnTo>
                <a:lnTo>
                  <a:pt x="1192" y="38"/>
                </a:lnTo>
                <a:lnTo>
                  <a:pt x="1204" y="40"/>
                </a:lnTo>
                <a:lnTo>
                  <a:pt x="1215" y="44"/>
                </a:lnTo>
                <a:lnTo>
                  <a:pt x="1225" y="49"/>
                </a:lnTo>
                <a:lnTo>
                  <a:pt x="1236" y="54"/>
                </a:lnTo>
                <a:lnTo>
                  <a:pt x="1244" y="59"/>
                </a:lnTo>
                <a:lnTo>
                  <a:pt x="1260" y="73"/>
                </a:lnTo>
                <a:lnTo>
                  <a:pt x="1272" y="91"/>
                </a:lnTo>
                <a:lnTo>
                  <a:pt x="1281" y="108"/>
                </a:lnTo>
                <a:lnTo>
                  <a:pt x="1290" y="128"/>
                </a:lnTo>
                <a:lnTo>
                  <a:pt x="1297" y="147"/>
                </a:lnTo>
                <a:lnTo>
                  <a:pt x="1330" y="140"/>
                </a:lnTo>
                <a:lnTo>
                  <a:pt x="1330" y="140"/>
                </a:lnTo>
                <a:lnTo>
                  <a:pt x="1318" y="75"/>
                </a:lnTo>
                <a:lnTo>
                  <a:pt x="1311" y="23"/>
                </a:lnTo>
                <a:lnTo>
                  <a:pt x="1311" y="23"/>
                </a:lnTo>
                <a:lnTo>
                  <a:pt x="1272" y="12"/>
                </a:lnTo>
                <a:lnTo>
                  <a:pt x="1272" y="12"/>
                </a:lnTo>
                <a:lnTo>
                  <a:pt x="1253" y="7"/>
                </a:lnTo>
                <a:lnTo>
                  <a:pt x="1232" y="3"/>
                </a:lnTo>
                <a:lnTo>
                  <a:pt x="1211" y="2"/>
                </a:lnTo>
                <a:lnTo>
                  <a:pt x="1192" y="0"/>
                </a:lnTo>
                <a:lnTo>
                  <a:pt x="1192" y="0"/>
                </a:lnTo>
                <a:lnTo>
                  <a:pt x="1169" y="2"/>
                </a:lnTo>
                <a:lnTo>
                  <a:pt x="1148" y="3"/>
                </a:lnTo>
                <a:lnTo>
                  <a:pt x="1127" y="9"/>
                </a:lnTo>
                <a:lnTo>
                  <a:pt x="1108" y="14"/>
                </a:lnTo>
                <a:lnTo>
                  <a:pt x="1090" y="21"/>
                </a:lnTo>
                <a:lnTo>
                  <a:pt x="1075" y="30"/>
                </a:lnTo>
                <a:lnTo>
                  <a:pt x="1061" y="38"/>
                </a:lnTo>
                <a:lnTo>
                  <a:pt x="1047" y="49"/>
                </a:lnTo>
                <a:lnTo>
                  <a:pt x="1035" y="61"/>
                </a:lnTo>
                <a:lnTo>
                  <a:pt x="1024" y="73"/>
                </a:lnTo>
                <a:lnTo>
                  <a:pt x="1015" y="87"/>
                </a:lnTo>
                <a:lnTo>
                  <a:pt x="1008" y="101"/>
                </a:lnTo>
                <a:lnTo>
                  <a:pt x="1001" y="115"/>
                </a:lnTo>
                <a:lnTo>
                  <a:pt x="998" y="131"/>
                </a:lnTo>
                <a:lnTo>
                  <a:pt x="996" y="147"/>
                </a:lnTo>
                <a:lnTo>
                  <a:pt x="994" y="164"/>
                </a:lnTo>
                <a:lnTo>
                  <a:pt x="994" y="164"/>
                </a:lnTo>
                <a:lnTo>
                  <a:pt x="996" y="178"/>
                </a:lnTo>
                <a:lnTo>
                  <a:pt x="998" y="192"/>
                </a:lnTo>
                <a:lnTo>
                  <a:pt x="1001" y="204"/>
                </a:lnTo>
                <a:lnTo>
                  <a:pt x="1005" y="218"/>
                </a:lnTo>
                <a:lnTo>
                  <a:pt x="1012" y="229"/>
                </a:lnTo>
                <a:lnTo>
                  <a:pt x="1019" y="241"/>
                </a:lnTo>
                <a:lnTo>
                  <a:pt x="1026" y="252"/>
                </a:lnTo>
                <a:lnTo>
                  <a:pt x="1035" y="260"/>
                </a:lnTo>
                <a:lnTo>
                  <a:pt x="1056" y="280"/>
                </a:lnTo>
                <a:lnTo>
                  <a:pt x="1078" y="295"/>
                </a:lnTo>
                <a:lnTo>
                  <a:pt x="1104" y="309"/>
                </a:lnTo>
                <a:lnTo>
                  <a:pt x="1132" y="321"/>
                </a:lnTo>
                <a:lnTo>
                  <a:pt x="1150" y="330"/>
                </a:lnTo>
                <a:lnTo>
                  <a:pt x="1150" y="330"/>
                </a:lnTo>
                <a:lnTo>
                  <a:pt x="1173" y="339"/>
                </a:lnTo>
                <a:lnTo>
                  <a:pt x="1194" y="351"/>
                </a:lnTo>
                <a:lnTo>
                  <a:pt x="1211" y="362"/>
                </a:lnTo>
                <a:lnTo>
                  <a:pt x="1225" y="374"/>
                </a:lnTo>
                <a:lnTo>
                  <a:pt x="1236" y="388"/>
                </a:lnTo>
                <a:lnTo>
                  <a:pt x="1244" y="404"/>
                </a:lnTo>
                <a:lnTo>
                  <a:pt x="1248" y="421"/>
                </a:lnTo>
                <a:lnTo>
                  <a:pt x="1250" y="440"/>
                </a:lnTo>
                <a:lnTo>
                  <a:pt x="1250" y="440"/>
                </a:lnTo>
                <a:lnTo>
                  <a:pt x="1248" y="458"/>
                </a:lnTo>
                <a:lnTo>
                  <a:pt x="1244" y="475"/>
                </a:lnTo>
                <a:lnTo>
                  <a:pt x="1236" y="489"/>
                </a:lnTo>
                <a:lnTo>
                  <a:pt x="1225" y="503"/>
                </a:lnTo>
                <a:lnTo>
                  <a:pt x="1213" y="514"/>
                </a:lnTo>
                <a:lnTo>
                  <a:pt x="1197" y="522"/>
                </a:lnTo>
                <a:lnTo>
                  <a:pt x="1180" y="528"/>
                </a:lnTo>
                <a:lnTo>
                  <a:pt x="1159" y="529"/>
                </a:lnTo>
                <a:lnTo>
                  <a:pt x="1159" y="529"/>
                </a:lnTo>
                <a:lnTo>
                  <a:pt x="1145" y="528"/>
                </a:lnTo>
                <a:lnTo>
                  <a:pt x="1131" y="526"/>
                </a:lnTo>
                <a:lnTo>
                  <a:pt x="1117" y="522"/>
                </a:lnTo>
                <a:lnTo>
                  <a:pt x="1104" y="517"/>
                </a:lnTo>
                <a:lnTo>
                  <a:pt x="1092" y="510"/>
                </a:lnTo>
                <a:lnTo>
                  <a:pt x="1082" y="503"/>
                </a:lnTo>
                <a:lnTo>
                  <a:pt x="1063" y="487"/>
                </a:lnTo>
                <a:lnTo>
                  <a:pt x="1045" y="468"/>
                </a:lnTo>
                <a:lnTo>
                  <a:pt x="1031" y="449"/>
                </a:lnTo>
                <a:lnTo>
                  <a:pt x="1021" y="430"/>
                </a:lnTo>
                <a:lnTo>
                  <a:pt x="1012" y="412"/>
                </a:lnTo>
                <a:lnTo>
                  <a:pt x="1012" y="412"/>
                </a:lnTo>
                <a:lnTo>
                  <a:pt x="1012" y="412"/>
                </a:lnTo>
                <a:lnTo>
                  <a:pt x="1012" y="412"/>
                </a:lnTo>
                <a:lnTo>
                  <a:pt x="1012" y="428"/>
                </a:lnTo>
                <a:lnTo>
                  <a:pt x="1010" y="444"/>
                </a:lnTo>
                <a:lnTo>
                  <a:pt x="1007" y="458"/>
                </a:lnTo>
                <a:lnTo>
                  <a:pt x="1003" y="472"/>
                </a:lnTo>
                <a:lnTo>
                  <a:pt x="996" y="484"/>
                </a:lnTo>
                <a:lnTo>
                  <a:pt x="991" y="496"/>
                </a:lnTo>
                <a:lnTo>
                  <a:pt x="982" y="507"/>
                </a:lnTo>
                <a:lnTo>
                  <a:pt x="975" y="517"/>
                </a:lnTo>
                <a:lnTo>
                  <a:pt x="975" y="517"/>
                </a:lnTo>
                <a:lnTo>
                  <a:pt x="982" y="522"/>
                </a:lnTo>
                <a:lnTo>
                  <a:pt x="996" y="529"/>
                </a:lnTo>
                <a:lnTo>
                  <a:pt x="996" y="529"/>
                </a:lnTo>
                <a:lnTo>
                  <a:pt x="1019" y="540"/>
                </a:lnTo>
                <a:lnTo>
                  <a:pt x="1054" y="554"/>
                </a:lnTo>
                <a:lnTo>
                  <a:pt x="1054" y="554"/>
                </a:lnTo>
                <a:lnTo>
                  <a:pt x="1073" y="559"/>
                </a:lnTo>
                <a:lnTo>
                  <a:pt x="1096" y="563"/>
                </a:lnTo>
                <a:lnTo>
                  <a:pt x="1118" y="566"/>
                </a:lnTo>
                <a:lnTo>
                  <a:pt x="1143" y="566"/>
                </a:lnTo>
                <a:lnTo>
                  <a:pt x="1143" y="566"/>
                </a:lnTo>
                <a:lnTo>
                  <a:pt x="1167" y="566"/>
                </a:lnTo>
                <a:lnTo>
                  <a:pt x="1188" y="563"/>
                </a:lnTo>
                <a:lnTo>
                  <a:pt x="1209" y="559"/>
                </a:lnTo>
                <a:lnTo>
                  <a:pt x="1230" y="554"/>
                </a:lnTo>
                <a:lnTo>
                  <a:pt x="1248" y="547"/>
                </a:lnTo>
                <a:lnTo>
                  <a:pt x="1265" y="538"/>
                </a:lnTo>
                <a:lnTo>
                  <a:pt x="1281" y="528"/>
                </a:lnTo>
                <a:lnTo>
                  <a:pt x="1297" y="517"/>
                </a:lnTo>
                <a:lnTo>
                  <a:pt x="1309" y="505"/>
                </a:lnTo>
                <a:lnTo>
                  <a:pt x="1321" y="491"/>
                </a:lnTo>
                <a:lnTo>
                  <a:pt x="1330" y="477"/>
                </a:lnTo>
                <a:lnTo>
                  <a:pt x="1339" y="461"/>
                </a:lnTo>
                <a:lnTo>
                  <a:pt x="1344" y="445"/>
                </a:lnTo>
                <a:lnTo>
                  <a:pt x="1349" y="430"/>
                </a:lnTo>
                <a:lnTo>
                  <a:pt x="1353" y="412"/>
                </a:lnTo>
                <a:lnTo>
                  <a:pt x="1353" y="393"/>
                </a:lnTo>
                <a:lnTo>
                  <a:pt x="1353" y="393"/>
                </a:lnTo>
                <a:lnTo>
                  <a:pt x="1353" y="377"/>
                </a:lnTo>
                <a:lnTo>
                  <a:pt x="1351" y="362"/>
                </a:lnTo>
                <a:lnTo>
                  <a:pt x="1347" y="348"/>
                </a:lnTo>
                <a:lnTo>
                  <a:pt x="1342" y="334"/>
                </a:lnTo>
                <a:lnTo>
                  <a:pt x="1335" y="321"/>
                </a:lnTo>
                <a:lnTo>
                  <a:pt x="1328" y="309"/>
                </a:lnTo>
                <a:lnTo>
                  <a:pt x="1321" y="299"/>
                </a:lnTo>
                <a:lnTo>
                  <a:pt x="1311" y="290"/>
                </a:lnTo>
                <a:lnTo>
                  <a:pt x="1291" y="271"/>
                </a:lnTo>
                <a:lnTo>
                  <a:pt x="1269" y="255"/>
                </a:lnTo>
                <a:lnTo>
                  <a:pt x="1243" y="243"/>
                </a:lnTo>
                <a:lnTo>
                  <a:pt x="1216" y="231"/>
                </a:lnTo>
                <a:lnTo>
                  <a:pt x="1216" y="231"/>
                </a:lnTo>
                <a:close/>
                <a:moveTo>
                  <a:pt x="402" y="491"/>
                </a:moveTo>
                <a:lnTo>
                  <a:pt x="402" y="491"/>
                </a:lnTo>
                <a:lnTo>
                  <a:pt x="393" y="498"/>
                </a:lnTo>
                <a:lnTo>
                  <a:pt x="383" y="503"/>
                </a:lnTo>
                <a:lnTo>
                  <a:pt x="370" y="508"/>
                </a:lnTo>
                <a:lnTo>
                  <a:pt x="357" y="512"/>
                </a:lnTo>
                <a:lnTo>
                  <a:pt x="325" y="515"/>
                </a:lnTo>
                <a:lnTo>
                  <a:pt x="294" y="517"/>
                </a:lnTo>
                <a:lnTo>
                  <a:pt x="294" y="517"/>
                </a:lnTo>
                <a:lnTo>
                  <a:pt x="248" y="515"/>
                </a:lnTo>
                <a:lnTo>
                  <a:pt x="231" y="514"/>
                </a:lnTo>
                <a:lnTo>
                  <a:pt x="218" y="510"/>
                </a:lnTo>
                <a:lnTo>
                  <a:pt x="218" y="510"/>
                </a:lnTo>
                <a:lnTo>
                  <a:pt x="211" y="507"/>
                </a:lnTo>
                <a:lnTo>
                  <a:pt x="206" y="501"/>
                </a:lnTo>
                <a:lnTo>
                  <a:pt x="203" y="494"/>
                </a:lnTo>
                <a:lnTo>
                  <a:pt x="199" y="486"/>
                </a:lnTo>
                <a:lnTo>
                  <a:pt x="197" y="475"/>
                </a:lnTo>
                <a:lnTo>
                  <a:pt x="197" y="461"/>
                </a:lnTo>
                <a:lnTo>
                  <a:pt x="196" y="423"/>
                </a:lnTo>
                <a:lnTo>
                  <a:pt x="196" y="293"/>
                </a:lnTo>
                <a:lnTo>
                  <a:pt x="260" y="293"/>
                </a:lnTo>
                <a:lnTo>
                  <a:pt x="260" y="293"/>
                </a:lnTo>
                <a:lnTo>
                  <a:pt x="285" y="293"/>
                </a:lnTo>
                <a:lnTo>
                  <a:pt x="306" y="295"/>
                </a:lnTo>
                <a:lnTo>
                  <a:pt x="320" y="297"/>
                </a:lnTo>
                <a:lnTo>
                  <a:pt x="330" y="302"/>
                </a:lnTo>
                <a:lnTo>
                  <a:pt x="334" y="307"/>
                </a:lnTo>
                <a:lnTo>
                  <a:pt x="337" y="311"/>
                </a:lnTo>
                <a:lnTo>
                  <a:pt x="341" y="323"/>
                </a:lnTo>
                <a:lnTo>
                  <a:pt x="344" y="341"/>
                </a:lnTo>
                <a:lnTo>
                  <a:pt x="348" y="363"/>
                </a:lnTo>
                <a:lnTo>
                  <a:pt x="379" y="363"/>
                </a:lnTo>
                <a:lnTo>
                  <a:pt x="379" y="180"/>
                </a:lnTo>
                <a:lnTo>
                  <a:pt x="348" y="180"/>
                </a:lnTo>
                <a:lnTo>
                  <a:pt x="348" y="180"/>
                </a:lnTo>
                <a:lnTo>
                  <a:pt x="344" y="203"/>
                </a:lnTo>
                <a:lnTo>
                  <a:pt x="341" y="218"/>
                </a:lnTo>
                <a:lnTo>
                  <a:pt x="337" y="231"/>
                </a:lnTo>
                <a:lnTo>
                  <a:pt x="334" y="236"/>
                </a:lnTo>
                <a:lnTo>
                  <a:pt x="330" y="239"/>
                </a:lnTo>
                <a:lnTo>
                  <a:pt x="320" y="246"/>
                </a:lnTo>
                <a:lnTo>
                  <a:pt x="306" y="248"/>
                </a:lnTo>
                <a:lnTo>
                  <a:pt x="285" y="250"/>
                </a:lnTo>
                <a:lnTo>
                  <a:pt x="260" y="250"/>
                </a:lnTo>
                <a:lnTo>
                  <a:pt x="196" y="250"/>
                </a:lnTo>
                <a:lnTo>
                  <a:pt x="196" y="80"/>
                </a:lnTo>
                <a:lnTo>
                  <a:pt x="196" y="80"/>
                </a:lnTo>
                <a:lnTo>
                  <a:pt x="196" y="63"/>
                </a:lnTo>
                <a:lnTo>
                  <a:pt x="197" y="58"/>
                </a:lnTo>
                <a:lnTo>
                  <a:pt x="201" y="54"/>
                </a:lnTo>
                <a:lnTo>
                  <a:pt x="204" y="52"/>
                </a:lnTo>
                <a:lnTo>
                  <a:pt x="211" y="51"/>
                </a:lnTo>
                <a:lnTo>
                  <a:pt x="231" y="51"/>
                </a:lnTo>
                <a:lnTo>
                  <a:pt x="266" y="51"/>
                </a:lnTo>
                <a:lnTo>
                  <a:pt x="266" y="51"/>
                </a:lnTo>
                <a:lnTo>
                  <a:pt x="301" y="52"/>
                </a:lnTo>
                <a:lnTo>
                  <a:pt x="329" y="54"/>
                </a:lnTo>
                <a:lnTo>
                  <a:pt x="339" y="58"/>
                </a:lnTo>
                <a:lnTo>
                  <a:pt x="348" y="61"/>
                </a:lnTo>
                <a:lnTo>
                  <a:pt x="355" y="65"/>
                </a:lnTo>
                <a:lnTo>
                  <a:pt x="362" y="70"/>
                </a:lnTo>
                <a:lnTo>
                  <a:pt x="362" y="70"/>
                </a:lnTo>
                <a:lnTo>
                  <a:pt x="370" y="82"/>
                </a:lnTo>
                <a:lnTo>
                  <a:pt x="379" y="98"/>
                </a:lnTo>
                <a:lnTo>
                  <a:pt x="388" y="119"/>
                </a:lnTo>
                <a:lnTo>
                  <a:pt x="393" y="145"/>
                </a:lnTo>
                <a:lnTo>
                  <a:pt x="426" y="143"/>
                </a:lnTo>
                <a:lnTo>
                  <a:pt x="426" y="143"/>
                </a:lnTo>
                <a:lnTo>
                  <a:pt x="416" y="14"/>
                </a:lnTo>
                <a:lnTo>
                  <a:pt x="0" y="14"/>
                </a:lnTo>
                <a:lnTo>
                  <a:pt x="0" y="40"/>
                </a:lnTo>
                <a:lnTo>
                  <a:pt x="0" y="40"/>
                </a:lnTo>
                <a:lnTo>
                  <a:pt x="23" y="42"/>
                </a:lnTo>
                <a:lnTo>
                  <a:pt x="40" y="45"/>
                </a:lnTo>
                <a:lnTo>
                  <a:pt x="54" y="51"/>
                </a:lnTo>
                <a:lnTo>
                  <a:pt x="59" y="54"/>
                </a:lnTo>
                <a:lnTo>
                  <a:pt x="65" y="58"/>
                </a:lnTo>
                <a:lnTo>
                  <a:pt x="68" y="65"/>
                </a:lnTo>
                <a:lnTo>
                  <a:pt x="72" y="70"/>
                </a:lnTo>
                <a:lnTo>
                  <a:pt x="77" y="87"/>
                </a:lnTo>
                <a:lnTo>
                  <a:pt x="80" y="110"/>
                </a:lnTo>
                <a:lnTo>
                  <a:pt x="80" y="140"/>
                </a:lnTo>
                <a:lnTo>
                  <a:pt x="80" y="426"/>
                </a:lnTo>
                <a:lnTo>
                  <a:pt x="80" y="426"/>
                </a:lnTo>
                <a:lnTo>
                  <a:pt x="80" y="456"/>
                </a:lnTo>
                <a:lnTo>
                  <a:pt x="79" y="480"/>
                </a:lnTo>
                <a:lnTo>
                  <a:pt x="75" y="496"/>
                </a:lnTo>
                <a:lnTo>
                  <a:pt x="72" y="503"/>
                </a:lnTo>
                <a:lnTo>
                  <a:pt x="68" y="508"/>
                </a:lnTo>
                <a:lnTo>
                  <a:pt x="63" y="514"/>
                </a:lnTo>
                <a:lnTo>
                  <a:pt x="58" y="517"/>
                </a:lnTo>
                <a:lnTo>
                  <a:pt x="44" y="522"/>
                </a:lnTo>
                <a:lnTo>
                  <a:pt x="24" y="526"/>
                </a:lnTo>
                <a:lnTo>
                  <a:pt x="2" y="528"/>
                </a:lnTo>
                <a:lnTo>
                  <a:pt x="2" y="554"/>
                </a:lnTo>
                <a:lnTo>
                  <a:pt x="468" y="554"/>
                </a:lnTo>
                <a:lnTo>
                  <a:pt x="468" y="414"/>
                </a:lnTo>
                <a:lnTo>
                  <a:pt x="446" y="409"/>
                </a:lnTo>
                <a:lnTo>
                  <a:pt x="446" y="409"/>
                </a:lnTo>
                <a:lnTo>
                  <a:pt x="435" y="437"/>
                </a:lnTo>
                <a:lnTo>
                  <a:pt x="425" y="459"/>
                </a:lnTo>
                <a:lnTo>
                  <a:pt x="414" y="479"/>
                </a:lnTo>
                <a:lnTo>
                  <a:pt x="402" y="491"/>
                </a:lnTo>
                <a:lnTo>
                  <a:pt x="402" y="49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4" name="Titelplatzhalter 1">
            <a:extLst>
              <a:ext uri="{FF2B5EF4-FFF2-40B4-BE49-F238E27FC236}">
                <a16:creationId xmlns:a16="http://schemas.microsoft.com/office/drawing/2014/main" id="{7B956A56-350A-4BF3-B567-7313393471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432000"/>
            <a:ext cx="11207450" cy="100800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de-DE" dirty="0"/>
              <a:t>Für den Titel klick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7CC1DA37-9EAD-4A43-B021-8F8511AE50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8000" y="1800000"/>
            <a:ext cx="11207450" cy="4320000"/>
          </a:xfrm>
          <a:prstGeom prst="rect">
            <a:avLst/>
          </a:prstGeom>
        </p:spPr>
        <p:txBody>
          <a:bodyPr vert="horz" lIns="90000" tIns="36000" rIns="90000" bIns="3600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7" name="Datumsplatzhalter 3">
            <a:extLst>
              <a:ext uri="{FF2B5EF4-FFF2-40B4-BE49-F238E27FC236}">
                <a16:creationId xmlns:a16="http://schemas.microsoft.com/office/drawing/2014/main" id="{7CDED68F-1A7F-41FF-AA69-941422D35C5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56000" y="6372000"/>
            <a:ext cx="960107" cy="14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071A1CDF-4400-4140-BB65-1B05704E63B8}" type="datetime1">
              <a:rPr lang="de-DE" smtClean="0"/>
              <a:pPr/>
              <a:t>11.11.2019</a:t>
            </a:fld>
            <a:endParaRPr lang="de-DE" dirty="0"/>
          </a:p>
        </p:txBody>
      </p:sp>
      <p:sp>
        <p:nvSpPr>
          <p:cNvPr id="18" name="Fußzeilenplatzhalter 4">
            <a:extLst>
              <a:ext uri="{FF2B5EF4-FFF2-40B4-BE49-F238E27FC236}">
                <a16:creationId xmlns:a16="http://schemas.microsoft.com/office/drawing/2014/main" id="{53C88FA9-EB77-4806-8463-05A8CDFFDD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60000" y="6372000"/>
            <a:ext cx="7104000" cy="14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9" name="Foliennummernplatzhalter 5">
            <a:extLst>
              <a:ext uri="{FF2B5EF4-FFF2-40B4-BE49-F238E27FC236}">
                <a16:creationId xmlns:a16="http://schemas.microsoft.com/office/drawing/2014/main" id="{1CD4254F-FFD0-4B7F-A364-F7EDF2CEC2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0000" y="6336000"/>
            <a:ext cx="672000" cy="1800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fld id="{BEA30288-E3B5-4660-9128-F5D5808E1F0C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6DE3FD6-A77B-D848-AFFE-D01880548D0F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40316" y="6290151"/>
            <a:ext cx="979425" cy="307201"/>
          </a:xfrm>
          <a:prstGeom prst="rect">
            <a:avLst/>
          </a:prstGeom>
        </p:spPr>
      </p:pic>
      <p:cxnSp>
        <p:nvCxnSpPr>
          <p:cNvPr id="3" name="Gerade Verbindung 2">
            <a:extLst>
              <a:ext uri="{FF2B5EF4-FFF2-40B4-BE49-F238E27FC236}">
                <a16:creationId xmlns:a16="http://schemas.microsoft.com/office/drawing/2014/main" id="{6F057BB7-80C4-A047-9F27-B084802BD935}"/>
              </a:ext>
            </a:extLst>
          </p:cNvPr>
          <p:cNvCxnSpPr>
            <a:cxnSpLocks/>
          </p:cNvCxnSpPr>
          <p:nvPr userDrawn="1"/>
        </p:nvCxnSpPr>
        <p:spPr>
          <a:xfrm flipV="1">
            <a:off x="9984432" y="6273600"/>
            <a:ext cx="0" cy="323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7891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49" r:id="rId2"/>
    <p:sldLayoutId id="2147483673" r:id="rId3"/>
    <p:sldLayoutId id="2147483668" r:id="rId4"/>
    <p:sldLayoutId id="2147483672" r:id="rId5"/>
    <p:sldLayoutId id="2147483665" r:id="rId6"/>
    <p:sldLayoutId id="2147483666" r:id="rId7"/>
    <p:sldLayoutId id="2147483670" r:id="rId8"/>
    <p:sldLayoutId id="2147483671" r:id="rId9"/>
    <p:sldLayoutId id="2147483650" r:id="rId10"/>
    <p:sldLayoutId id="2147483654" r:id="rId11"/>
    <p:sldLayoutId id="2147483667" r:id="rId12"/>
    <p:sldLayoutId id="2147483664" r:id="rId13"/>
    <p:sldLayoutId id="2147483674" r:id="rId14"/>
    <p:sldLayoutId id="2147483676" r:id="rId15"/>
    <p:sldLayoutId id="2147483675" r:id="rId16"/>
    <p:sldLayoutId id="2147483662" r:id="rId17"/>
    <p:sldLayoutId id="2147483656" r:id="rId18"/>
    <p:sldLayoutId id="2147483669" r:id="rId19"/>
    <p:sldLayoutId id="2147483661" r:id="rId20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b="1" kern="1200" cap="none" normalizeH="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8288" indent="-265113" algn="l" defTabSz="914400" rtl="0" eaLnBrk="1" latinLnBrk="0" hangingPunct="1">
        <a:spcBef>
          <a:spcPts val="600"/>
        </a:spcBef>
        <a:spcAft>
          <a:spcPts val="60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65113" algn="l" defTabSz="914400" rtl="0" eaLnBrk="1" latinLnBrk="0" hangingPunct="1">
        <a:spcBef>
          <a:spcPts val="600"/>
        </a:spcBef>
        <a:spcAft>
          <a:spcPts val="600"/>
        </a:spcAft>
        <a:buClr>
          <a:schemeClr val="tx2"/>
        </a:buClr>
        <a:buSzPct val="90000"/>
        <a:buFont typeface="Symbol" panose="05050102010706020507" pitchFamily="18" charset="2"/>
        <a:buChar char="-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68288" algn="l" defTabSz="91440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Font typeface="Symbol" panose="05050102010706020507" pitchFamily="18" charset="2"/>
        <a:buChar char="-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269875" algn="l" defTabSz="914400" rtl="0" eaLnBrk="1" latinLnBrk="0" hangingPunct="1">
        <a:spcBef>
          <a:spcPts val="600"/>
        </a:spcBef>
        <a:spcAft>
          <a:spcPts val="600"/>
        </a:spcAft>
        <a:buFont typeface="Symbol" panose="05050102010706020507" pitchFamily="18" charset="2"/>
        <a:buChar char="-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00" indent="-268288" algn="l" defTabSz="914400" rtl="0" eaLnBrk="1" latinLnBrk="0" hangingPunct="1">
        <a:spcBef>
          <a:spcPts val="600"/>
        </a:spcBef>
        <a:spcAft>
          <a:spcPts val="600"/>
        </a:spcAft>
        <a:buFont typeface="Symbol" panose="05050102010706020507" pitchFamily="18" charset="2"/>
        <a:buChar char="-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7468" userDrawn="1">
          <p15:clr>
            <a:srgbClr val="F26B43"/>
          </p15:clr>
        </p15:guide>
        <p15:guide id="4" pos="406" userDrawn="1">
          <p15:clr>
            <a:srgbClr val="F26B43"/>
          </p15:clr>
        </p15:guide>
        <p15:guide id="5" orient="horz" pos="270" userDrawn="1">
          <p15:clr>
            <a:srgbClr val="F26B43"/>
          </p15:clr>
        </p15:guide>
        <p15:guide id="6" orient="horz" pos="386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5.jpg"/><Relationship Id="rId5" Type="http://schemas.openxmlformats.org/officeDocument/2006/relationships/image" Target="../media/image14.jpg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92D4DDE-1ADA-4D5D-AA7A-20F481E789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A30288-E3B5-4660-9128-F5D5808E1F0C}" type="slidenum">
              <a:rPr lang="de-DE" smtClean="0"/>
              <a:t>1</a:t>
            </a:fld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184A496-15C6-4F87-A8FC-D7963215F5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4525" y="440780"/>
            <a:ext cx="11211475" cy="1008000"/>
          </a:xfrm>
        </p:spPr>
        <p:txBody>
          <a:bodyPr/>
          <a:lstStyle/>
          <a:p>
            <a:r>
              <a:rPr lang="de-DE" dirty="0"/>
              <a:t>BUSINESS MODEL - GERMANY</a:t>
            </a:r>
          </a:p>
        </p:txBody>
      </p:sp>
      <p:sp>
        <p:nvSpPr>
          <p:cNvPr id="22" name="object 20">
            <a:extLst>
              <a:ext uri="{FF2B5EF4-FFF2-40B4-BE49-F238E27FC236}">
                <a16:creationId xmlns:a16="http://schemas.microsoft.com/office/drawing/2014/main" id="{BCB4E434-A319-497A-AACA-966308E16F70}"/>
              </a:ext>
            </a:extLst>
          </p:cNvPr>
          <p:cNvSpPr/>
          <p:nvPr/>
        </p:nvSpPr>
        <p:spPr>
          <a:xfrm rot="11370793">
            <a:off x="6374100" y="1535197"/>
            <a:ext cx="1092835" cy="1021080"/>
          </a:xfrm>
          <a:custGeom>
            <a:avLst/>
            <a:gdLst/>
            <a:ahLst/>
            <a:cxnLst/>
            <a:rect l="l" t="t" r="r" b="b"/>
            <a:pathLst>
              <a:path w="1092835" h="1021079">
                <a:moveTo>
                  <a:pt x="473328" y="0"/>
                </a:moveTo>
                <a:lnTo>
                  <a:pt x="0" y="752957"/>
                </a:lnTo>
                <a:lnTo>
                  <a:pt x="61340" y="783551"/>
                </a:lnTo>
                <a:lnTo>
                  <a:pt x="91947" y="798106"/>
                </a:lnTo>
                <a:lnTo>
                  <a:pt x="154939" y="826198"/>
                </a:lnTo>
                <a:lnTo>
                  <a:pt x="218820" y="852525"/>
                </a:lnTo>
                <a:lnTo>
                  <a:pt x="283717" y="877112"/>
                </a:lnTo>
                <a:lnTo>
                  <a:pt x="349757" y="899934"/>
                </a:lnTo>
                <a:lnTo>
                  <a:pt x="416559" y="921003"/>
                </a:lnTo>
                <a:lnTo>
                  <a:pt x="484250" y="939812"/>
                </a:lnTo>
                <a:lnTo>
                  <a:pt x="553084" y="957122"/>
                </a:lnTo>
                <a:lnTo>
                  <a:pt x="622553" y="972172"/>
                </a:lnTo>
                <a:lnTo>
                  <a:pt x="728217" y="991488"/>
                </a:lnTo>
                <a:lnTo>
                  <a:pt x="799972" y="1001521"/>
                </a:lnTo>
                <a:lnTo>
                  <a:pt x="871981" y="1009548"/>
                </a:lnTo>
                <a:lnTo>
                  <a:pt x="945133" y="1015568"/>
                </a:lnTo>
                <a:lnTo>
                  <a:pt x="1055624" y="1020571"/>
                </a:lnTo>
                <a:lnTo>
                  <a:pt x="1092707" y="1021079"/>
                </a:lnTo>
                <a:lnTo>
                  <a:pt x="1092707" y="152018"/>
                </a:lnTo>
                <a:lnTo>
                  <a:pt x="1071752" y="151510"/>
                </a:lnTo>
                <a:lnTo>
                  <a:pt x="1050670" y="150748"/>
                </a:lnTo>
                <a:lnTo>
                  <a:pt x="1009268" y="148462"/>
                </a:lnTo>
                <a:lnTo>
                  <a:pt x="967993" y="145033"/>
                </a:lnTo>
                <a:lnTo>
                  <a:pt x="926845" y="140207"/>
                </a:lnTo>
                <a:lnTo>
                  <a:pt x="886713" y="134492"/>
                </a:lnTo>
                <a:lnTo>
                  <a:pt x="846327" y="127381"/>
                </a:lnTo>
                <a:lnTo>
                  <a:pt x="806830" y="119379"/>
                </a:lnTo>
                <a:lnTo>
                  <a:pt x="748411" y="105156"/>
                </a:lnTo>
                <a:lnTo>
                  <a:pt x="709929" y="94360"/>
                </a:lnTo>
                <a:lnTo>
                  <a:pt x="671956" y="82550"/>
                </a:lnTo>
                <a:lnTo>
                  <a:pt x="597788" y="56133"/>
                </a:lnTo>
                <a:lnTo>
                  <a:pt x="543432" y="33400"/>
                </a:lnTo>
                <a:lnTo>
                  <a:pt x="525779" y="25526"/>
                </a:lnTo>
                <a:lnTo>
                  <a:pt x="473328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">
            <a:extLst>
              <a:ext uri="{FF2B5EF4-FFF2-40B4-BE49-F238E27FC236}">
                <a16:creationId xmlns:a16="http://schemas.microsoft.com/office/drawing/2014/main" id="{7E40FE60-16CC-438A-A7F3-1F1802C885A8}"/>
              </a:ext>
            </a:extLst>
          </p:cNvPr>
          <p:cNvSpPr txBox="1"/>
          <p:nvPr/>
        </p:nvSpPr>
        <p:spPr>
          <a:xfrm>
            <a:off x="5805042" y="3870623"/>
            <a:ext cx="61912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5" dirty="0">
                <a:latin typeface="Arial"/>
                <a:cs typeface="Arial"/>
              </a:rPr>
              <a:t>Patients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24" name="object 3">
            <a:extLst>
              <a:ext uri="{FF2B5EF4-FFF2-40B4-BE49-F238E27FC236}">
                <a16:creationId xmlns:a16="http://schemas.microsoft.com/office/drawing/2014/main" id="{6927AC6A-4804-4013-9D43-CDC292EAFD01}"/>
              </a:ext>
            </a:extLst>
          </p:cNvPr>
          <p:cNvSpPr/>
          <p:nvPr/>
        </p:nvSpPr>
        <p:spPr>
          <a:xfrm rot="1170025">
            <a:off x="4742482" y="1330181"/>
            <a:ext cx="1271270" cy="1167765"/>
          </a:xfrm>
          <a:custGeom>
            <a:avLst/>
            <a:gdLst/>
            <a:ahLst/>
            <a:cxnLst/>
            <a:rect l="l" t="t" r="r" b="b"/>
            <a:pathLst>
              <a:path w="1271270" h="1167764">
                <a:moveTo>
                  <a:pt x="798703" y="0"/>
                </a:moveTo>
                <a:lnTo>
                  <a:pt x="737362" y="34289"/>
                </a:lnTo>
                <a:lnTo>
                  <a:pt x="677672" y="70357"/>
                </a:lnTo>
                <a:lnTo>
                  <a:pt x="619125" y="107950"/>
                </a:lnTo>
                <a:lnTo>
                  <a:pt x="562483" y="147319"/>
                </a:lnTo>
                <a:lnTo>
                  <a:pt x="506603" y="188340"/>
                </a:lnTo>
                <a:lnTo>
                  <a:pt x="452500" y="231012"/>
                </a:lnTo>
                <a:lnTo>
                  <a:pt x="399669" y="274827"/>
                </a:lnTo>
                <a:lnTo>
                  <a:pt x="348615" y="320420"/>
                </a:lnTo>
                <a:lnTo>
                  <a:pt x="274828" y="391287"/>
                </a:lnTo>
                <a:lnTo>
                  <a:pt x="227711" y="440436"/>
                </a:lnTo>
                <a:lnTo>
                  <a:pt x="182499" y="490727"/>
                </a:lnTo>
                <a:lnTo>
                  <a:pt x="138937" y="542670"/>
                </a:lnTo>
                <a:lnTo>
                  <a:pt x="96647" y="595502"/>
                </a:lnTo>
                <a:lnTo>
                  <a:pt x="56642" y="649858"/>
                </a:lnTo>
                <a:lnTo>
                  <a:pt x="18287" y="705230"/>
                </a:lnTo>
                <a:lnTo>
                  <a:pt x="0" y="733551"/>
                </a:lnTo>
                <a:lnTo>
                  <a:pt x="818515" y="1167383"/>
                </a:lnTo>
                <a:lnTo>
                  <a:pt x="829183" y="1151636"/>
                </a:lnTo>
                <a:lnTo>
                  <a:pt x="839851" y="1135761"/>
                </a:lnTo>
                <a:lnTo>
                  <a:pt x="851027" y="1120266"/>
                </a:lnTo>
                <a:lnTo>
                  <a:pt x="862203" y="1105027"/>
                </a:lnTo>
                <a:lnTo>
                  <a:pt x="874141" y="1089787"/>
                </a:lnTo>
                <a:lnTo>
                  <a:pt x="885825" y="1074674"/>
                </a:lnTo>
                <a:lnTo>
                  <a:pt x="910082" y="1044828"/>
                </a:lnTo>
                <a:lnTo>
                  <a:pt x="935482" y="1016126"/>
                </a:lnTo>
                <a:lnTo>
                  <a:pt x="975233" y="974216"/>
                </a:lnTo>
                <a:lnTo>
                  <a:pt x="1016889" y="934212"/>
                </a:lnTo>
                <a:lnTo>
                  <a:pt x="1045972" y="908303"/>
                </a:lnTo>
                <a:lnTo>
                  <a:pt x="1075690" y="883284"/>
                </a:lnTo>
                <a:lnTo>
                  <a:pt x="1106424" y="859027"/>
                </a:lnTo>
                <a:lnTo>
                  <a:pt x="1137793" y="835913"/>
                </a:lnTo>
                <a:lnTo>
                  <a:pt x="1170178" y="813434"/>
                </a:lnTo>
                <a:lnTo>
                  <a:pt x="1219835" y="781557"/>
                </a:lnTo>
                <a:lnTo>
                  <a:pt x="1271016" y="751839"/>
                </a:lnTo>
                <a:lnTo>
                  <a:pt x="798703" y="0"/>
                </a:lnTo>
                <a:close/>
              </a:path>
            </a:pathLst>
          </a:custGeom>
          <a:solidFill>
            <a:srgbClr val="EC7C3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6">
            <a:extLst>
              <a:ext uri="{FF2B5EF4-FFF2-40B4-BE49-F238E27FC236}">
                <a16:creationId xmlns:a16="http://schemas.microsoft.com/office/drawing/2014/main" id="{268B77AE-6E70-4B03-B0B9-05FA16FE8372}"/>
              </a:ext>
            </a:extLst>
          </p:cNvPr>
          <p:cNvSpPr/>
          <p:nvPr/>
        </p:nvSpPr>
        <p:spPr>
          <a:xfrm rot="395856">
            <a:off x="3962400" y="2274425"/>
            <a:ext cx="1111250" cy="1003300"/>
          </a:xfrm>
          <a:custGeom>
            <a:avLst/>
            <a:gdLst/>
            <a:ahLst/>
            <a:cxnLst/>
            <a:rect l="l" t="t" r="r" b="b"/>
            <a:pathLst>
              <a:path w="1111250" h="1003300">
                <a:moveTo>
                  <a:pt x="291846" y="0"/>
                </a:moveTo>
                <a:lnTo>
                  <a:pt x="258572" y="56134"/>
                </a:lnTo>
                <a:lnTo>
                  <a:pt x="226949" y="113030"/>
                </a:lnTo>
                <a:lnTo>
                  <a:pt x="197612" y="171577"/>
                </a:lnTo>
                <a:lnTo>
                  <a:pt x="169544" y="230505"/>
                </a:lnTo>
                <a:lnTo>
                  <a:pt x="144144" y="290576"/>
                </a:lnTo>
                <a:lnTo>
                  <a:pt x="120141" y="351536"/>
                </a:lnTo>
                <a:lnTo>
                  <a:pt x="98425" y="413258"/>
                </a:lnTo>
                <a:lnTo>
                  <a:pt x="78486" y="475996"/>
                </a:lnTo>
                <a:lnTo>
                  <a:pt x="61087" y="539369"/>
                </a:lnTo>
                <a:lnTo>
                  <a:pt x="45465" y="603631"/>
                </a:lnTo>
                <a:lnTo>
                  <a:pt x="32385" y="668528"/>
                </a:lnTo>
                <a:lnTo>
                  <a:pt x="21589" y="734187"/>
                </a:lnTo>
                <a:lnTo>
                  <a:pt x="12573" y="800481"/>
                </a:lnTo>
                <a:lnTo>
                  <a:pt x="5968" y="867410"/>
                </a:lnTo>
                <a:lnTo>
                  <a:pt x="1650" y="934847"/>
                </a:lnTo>
                <a:lnTo>
                  <a:pt x="0" y="1002792"/>
                </a:lnTo>
                <a:lnTo>
                  <a:pt x="945641" y="1002792"/>
                </a:lnTo>
                <a:lnTo>
                  <a:pt x="946150" y="983742"/>
                </a:lnTo>
                <a:lnTo>
                  <a:pt x="946912" y="964438"/>
                </a:lnTo>
                <a:lnTo>
                  <a:pt x="948054" y="945134"/>
                </a:lnTo>
                <a:lnTo>
                  <a:pt x="949451" y="926084"/>
                </a:lnTo>
                <a:lnTo>
                  <a:pt x="953262" y="888492"/>
                </a:lnTo>
                <a:lnTo>
                  <a:pt x="955928" y="869442"/>
                </a:lnTo>
                <a:lnTo>
                  <a:pt x="958341" y="850773"/>
                </a:lnTo>
                <a:lnTo>
                  <a:pt x="961643" y="832231"/>
                </a:lnTo>
                <a:lnTo>
                  <a:pt x="964691" y="813689"/>
                </a:lnTo>
                <a:lnTo>
                  <a:pt x="968501" y="795401"/>
                </a:lnTo>
                <a:lnTo>
                  <a:pt x="972565" y="776859"/>
                </a:lnTo>
                <a:lnTo>
                  <a:pt x="976376" y="758571"/>
                </a:lnTo>
                <a:lnTo>
                  <a:pt x="981075" y="740537"/>
                </a:lnTo>
                <a:lnTo>
                  <a:pt x="996568" y="686816"/>
                </a:lnTo>
                <a:lnTo>
                  <a:pt x="1014856" y="634111"/>
                </a:lnTo>
                <a:lnTo>
                  <a:pt x="1021079" y="616585"/>
                </a:lnTo>
                <a:lnTo>
                  <a:pt x="1027938" y="599567"/>
                </a:lnTo>
                <a:lnTo>
                  <a:pt x="1034923" y="582549"/>
                </a:lnTo>
                <a:lnTo>
                  <a:pt x="1042542" y="565404"/>
                </a:lnTo>
                <a:lnTo>
                  <a:pt x="1049909" y="548640"/>
                </a:lnTo>
                <a:lnTo>
                  <a:pt x="1058164" y="532130"/>
                </a:lnTo>
                <a:lnTo>
                  <a:pt x="1066038" y="515620"/>
                </a:lnTo>
                <a:lnTo>
                  <a:pt x="1074801" y="498729"/>
                </a:lnTo>
                <a:lnTo>
                  <a:pt x="1083183" y="482473"/>
                </a:lnTo>
                <a:lnTo>
                  <a:pt x="1092200" y="466471"/>
                </a:lnTo>
                <a:lnTo>
                  <a:pt x="1110996" y="434594"/>
                </a:lnTo>
                <a:lnTo>
                  <a:pt x="291846" y="0"/>
                </a:lnTo>
                <a:close/>
              </a:path>
            </a:pathLst>
          </a:custGeom>
          <a:solidFill>
            <a:srgbClr val="5B9BD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7">
            <a:extLst>
              <a:ext uri="{FF2B5EF4-FFF2-40B4-BE49-F238E27FC236}">
                <a16:creationId xmlns:a16="http://schemas.microsoft.com/office/drawing/2014/main" id="{93304C7B-872D-4103-A7F6-769A46010881}"/>
              </a:ext>
            </a:extLst>
          </p:cNvPr>
          <p:cNvSpPr/>
          <p:nvPr/>
        </p:nvSpPr>
        <p:spPr>
          <a:xfrm rot="21037984">
            <a:off x="7119050" y="2366106"/>
            <a:ext cx="1112520" cy="1003300"/>
          </a:xfrm>
          <a:custGeom>
            <a:avLst/>
            <a:gdLst/>
            <a:ahLst/>
            <a:cxnLst/>
            <a:rect l="l" t="t" r="r" b="b"/>
            <a:pathLst>
              <a:path w="1112520" h="1003300">
                <a:moveTo>
                  <a:pt x="820293" y="0"/>
                </a:moveTo>
                <a:lnTo>
                  <a:pt x="0" y="434594"/>
                </a:lnTo>
                <a:lnTo>
                  <a:pt x="18796" y="466471"/>
                </a:lnTo>
                <a:lnTo>
                  <a:pt x="27812" y="482473"/>
                </a:lnTo>
                <a:lnTo>
                  <a:pt x="36322" y="498729"/>
                </a:lnTo>
                <a:lnTo>
                  <a:pt x="45084" y="515620"/>
                </a:lnTo>
                <a:lnTo>
                  <a:pt x="61086" y="548640"/>
                </a:lnTo>
                <a:lnTo>
                  <a:pt x="68452" y="565404"/>
                </a:lnTo>
                <a:lnTo>
                  <a:pt x="76073" y="582549"/>
                </a:lnTo>
                <a:lnTo>
                  <a:pt x="83184" y="599567"/>
                </a:lnTo>
                <a:lnTo>
                  <a:pt x="90043" y="616585"/>
                </a:lnTo>
                <a:lnTo>
                  <a:pt x="96266" y="634111"/>
                </a:lnTo>
                <a:lnTo>
                  <a:pt x="102870" y="651510"/>
                </a:lnTo>
                <a:lnTo>
                  <a:pt x="120015" y="704596"/>
                </a:lnTo>
                <a:lnTo>
                  <a:pt x="134747" y="758571"/>
                </a:lnTo>
                <a:lnTo>
                  <a:pt x="138683" y="776859"/>
                </a:lnTo>
                <a:lnTo>
                  <a:pt x="142748" y="795401"/>
                </a:lnTo>
                <a:lnTo>
                  <a:pt x="146557" y="813689"/>
                </a:lnTo>
                <a:lnTo>
                  <a:pt x="149478" y="832231"/>
                </a:lnTo>
                <a:lnTo>
                  <a:pt x="152780" y="850773"/>
                </a:lnTo>
                <a:lnTo>
                  <a:pt x="155321" y="869442"/>
                </a:lnTo>
                <a:lnTo>
                  <a:pt x="157987" y="888492"/>
                </a:lnTo>
                <a:lnTo>
                  <a:pt x="161798" y="926084"/>
                </a:lnTo>
                <a:lnTo>
                  <a:pt x="163195" y="945134"/>
                </a:lnTo>
                <a:lnTo>
                  <a:pt x="164210" y="964438"/>
                </a:lnTo>
                <a:lnTo>
                  <a:pt x="165100" y="983742"/>
                </a:lnTo>
                <a:lnTo>
                  <a:pt x="165607" y="1002792"/>
                </a:lnTo>
                <a:lnTo>
                  <a:pt x="1112520" y="1002792"/>
                </a:lnTo>
                <a:lnTo>
                  <a:pt x="1110869" y="934847"/>
                </a:lnTo>
                <a:lnTo>
                  <a:pt x="1106551" y="867410"/>
                </a:lnTo>
                <a:lnTo>
                  <a:pt x="1099947" y="800481"/>
                </a:lnTo>
                <a:lnTo>
                  <a:pt x="1090929" y="734187"/>
                </a:lnTo>
                <a:lnTo>
                  <a:pt x="1080007" y="668528"/>
                </a:lnTo>
                <a:lnTo>
                  <a:pt x="1066927" y="603631"/>
                </a:lnTo>
                <a:lnTo>
                  <a:pt x="1051432" y="539369"/>
                </a:lnTo>
                <a:lnTo>
                  <a:pt x="1033906" y="475996"/>
                </a:lnTo>
                <a:lnTo>
                  <a:pt x="1013968" y="413258"/>
                </a:lnTo>
                <a:lnTo>
                  <a:pt x="992124" y="351536"/>
                </a:lnTo>
                <a:lnTo>
                  <a:pt x="968121" y="290576"/>
                </a:lnTo>
                <a:lnTo>
                  <a:pt x="955675" y="260350"/>
                </a:lnTo>
                <a:lnTo>
                  <a:pt x="928877" y="200914"/>
                </a:lnTo>
                <a:lnTo>
                  <a:pt x="900176" y="142240"/>
                </a:lnTo>
                <a:lnTo>
                  <a:pt x="869696" y="84455"/>
                </a:lnTo>
                <a:lnTo>
                  <a:pt x="837183" y="28067"/>
                </a:lnTo>
                <a:lnTo>
                  <a:pt x="820293" y="0"/>
                </a:lnTo>
                <a:close/>
              </a:path>
            </a:pathLst>
          </a:custGeom>
          <a:solidFill>
            <a:srgbClr val="4471C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10">
            <a:extLst>
              <a:ext uri="{FF2B5EF4-FFF2-40B4-BE49-F238E27FC236}">
                <a16:creationId xmlns:a16="http://schemas.microsoft.com/office/drawing/2014/main" id="{5FF95E0F-91AA-4EFD-AA4A-25D42A6C8F02}"/>
              </a:ext>
            </a:extLst>
          </p:cNvPr>
          <p:cNvSpPr txBox="1"/>
          <p:nvPr/>
        </p:nvSpPr>
        <p:spPr>
          <a:xfrm>
            <a:off x="6563057" y="1715087"/>
            <a:ext cx="48196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-10795" algn="ctr">
              <a:lnSpc>
                <a:spcPct val="100000"/>
              </a:lnSpc>
              <a:spcBef>
                <a:spcPts val="100"/>
              </a:spcBef>
            </a:pPr>
            <a:r>
              <a:rPr sz="1200" spc="-225" dirty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r>
              <a:rPr sz="1200" spc="-160" dirty="0">
                <a:solidFill>
                  <a:srgbClr val="FFFFFF"/>
                </a:solidFill>
                <a:latin typeface="Arial"/>
                <a:cs typeface="Arial"/>
              </a:rPr>
              <a:t>x</a:t>
            </a:r>
            <a:r>
              <a:rPr sz="1200" spc="-85" dirty="0">
                <a:solidFill>
                  <a:srgbClr val="FFFFFF"/>
                </a:solidFill>
                <a:latin typeface="Arial"/>
                <a:cs typeface="Arial"/>
              </a:rPr>
              <a:t>p</a:t>
            </a:r>
            <a:r>
              <a:rPr sz="1200" spc="-45" dirty="0">
                <a:solidFill>
                  <a:srgbClr val="FFFFFF"/>
                </a:solidFill>
                <a:latin typeface="Arial"/>
                <a:cs typeface="Arial"/>
              </a:rPr>
              <a:t>r</a:t>
            </a:r>
            <a:r>
              <a:rPr sz="1200" spc="-95" dirty="0">
                <a:solidFill>
                  <a:srgbClr val="FFFFFF"/>
                </a:solidFill>
                <a:latin typeface="Arial"/>
                <a:cs typeface="Arial"/>
              </a:rPr>
              <a:t>ess  </a:t>
            </a:r>
            <a:r>
              <a:rPr sz="1200" spc="-85" dirty="0">
                <a:solidFill>
                  <a:srgbClr val="FFFFFF"/>
                </a:solidFill>
                <a:latin typeface="Arial"/>
                <a:cs typeface="Arial"/>
              </a:rPr>
              <a:t>drug  de</a:t>
            </a:r>
            <a:r>
              <a:rPr sz="1200" spc="-35" dirty="0">
                <a:solidFill>
                  <a:srgbClr val="FFFFFF"/>
                </a:solidFill>
                <a:latin typeface="Arial"/>
                <a:cs typeface="Arial"/>
              </a:rPr>
              <a:t>l</a:t>
            </a:r>
            <a:r>
              <a:rPr sz="1200" spc="-55" dirty="0">
                <a:solidFill>
                  <a:srgbClr val="FFFFFF"/>
                </a:solidFill>
                <a:latin typeface="Arial"/>
                <a:cs typeface="Arial"/>
              </a:rPr>
              <a:t>i</a:t>
            </a:r>
            <a:r>
              <a:rPr sz="1200" spc="-105" dirty="0">
                <a:solidFill>
                  <a:srgbClr val="FFFFFF"/>
                </a:solidFill>
                <a:latin typeface="Arial"/>
                <a:cs typeface="Arial"/>
              </a:rPr>
              <a:t>v</a:t>
            </a:r>
            <a:r>
              <a:rPr sz="1200" spc="-110" dirty="0">
                <a:solidFill>
                  <a:srgbClr val="FFFFFF"/>
                </a:solidFill>
                <a:latin typeface="Arial"/>
                <a:cs typeface="Arial"/>
              </a:rPr>
              <a:t>ery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31" name="object 11">
            <a:extLst>
              <a:ext uri="{FF2B5EF4-FFF2-40B4-BE49-F238E27FC236}">
                <a16:creationId xmlns:a16="http://schemas.microsoft.com/office/drawing/2014/main" id="{19044585-93CA-4A42-A626-3E25A8D2AE83}"/>
              </a:ext>
            </a:extLst>
          </p:cNvPr>
          <p:cNvSpPr txBox="1"/>
          <p:nvPr/>
        </p:nvSpPr>
        <p:spPr>
          <a:xfrm>
            <a:off x="4105850" y="2701588"/>
            <a:ext cx="75501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176530">
              <a:lnSpc>
                <a:spcPct val="100000"/>
              </a:lnSpc>
              <a:spcBef>
                <a:spcPts val="100"/>
              </a:spcBef>
            </a:pPr>
            <a:r>
              <a:rPr sz="1200" spc="-90" dirty="0">
                <a:solidFill>
                  <a:srgbClr val="FFFFFF"/>
                </a:solidFill>
                <a:latin typeface="Arial"/>
                <a:cs typeface="Arial"/>
              </a:rPr>
              <a:t>Online  </a:t>
            </a:r>
            <a:r>
              <a:rPr sz="1200" spc="-75" dirty="0">
                <a:solidFill>
                  <a:srgbClr val="FFFFFF"/>
                </a:solidFill>
                <a:latin typeface="Arial"/>
                <a:cs typeface="Arial"/>
              </a:rPr>
              <a:t>c</a:t>
            </a:r>
            <a:r>
              <a:rPr sz="1200" spc="-110" dirty="0">
                <a:solidFill>
                  <a:srgbClr val="FFFFFF"/>
                </a:solidFill>
                <a:latin typeface="Arial"/>
                <a:cs typeface="Arial"/>
              </a:rPr>
              <a:t>ons</a:t>
            </a:r>
            <a:r>
              <a:rPr sz="1200" spc="-60" dirty="0">
                <a:solidFill>
                  <a:srgbClr val="FFFFFF"/>
                </a:solidFill>
                <a:latin typeface="Arial"/>
                <a:cs typeface="Arial"/>
              </a:rPr>
              <a:t>u</a:t>
            </a:r>
            <a:r>
              <a:rPr sz="1200" spc="-25" dirty="0">
                <a:solidFill>
                  <a:srgbClr val="FFFFFF"/>
                </a:solidFill>
                <a:latin typeface="Arial"/>
                <a:cs typeface="Arial"/>
              </a:rPr>
              <a:t>lt</a:t>
            </a:r>
            <a:r>
              <a:rPr sz="1200" spc="-40" dirty="0">
                <a:solidFill>
                  <a:srgbClr val="FFFFFF"/>
                </a:solidFill>
                <a:latin typeface="Arial"/>
                <a:cs typeface="Arial"/>
              </a:rPr>
              <a:t>a</a:t>
            </a:r>
            <a:r>
              <a:rPr sz="1200" spc="30" dirty="0">
                <a:solidFill>
                  <a:srgbClr val="FFFFFF"/>
                </a:solidFill>
                <a:latin typeface="Arial"/>
                <a:cs typeface="Arial"/>
              </a:rPr>
              <a:t>t</a:t>
            </a:r>
            <a:r>
              <a:rPr sz="1200" spc="25" dirty="0">
                <a:solidFill>
                  <a:srgbClr val="FFFFFF"/>
                </a:solidFill>
                <a:latin typeface="Arial"/>
                <a:cs typeface="Arial"/>
              </a:rPr>
              <a:t>i</a:t>
            </a:r>
            <a:r>
              <a:rPr sz="1200" spc="-110" dirty="0">
                <a:solidFill>
                  <a:srgbClr val="FFFFFF"/>
                </a:solidFill>
                <a:latin typeface="Arial"/>
                <a:cs typeface="Arial"/>
              </a:rPr>
              <a:t>on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32" name="object 12">
            <a:extLst>
              <a:ext uri="{FF2B5EF4-FFF2-40B4-BE49-F238E27FC236}">
                <a16:creationId xmlns:a16="http://schemas.microsoft.com/office/drawing/2014/main" id="{A03147A1-352D-46B3-9168-B5AD1522826A}"/>
              </a:ext>
            </a:extLst>
          </p:cNvPr>
          <p:cNvSpPr txBox="1"/>
          <p:nvPr/>
        </p:nvSpPr>
        <p:spPr>
          <a:xfrm>
            <a:off x="7284657" y="2684189"/>
            <a:ext cx="78803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-27305" algn="ctr">
              <a:lnSpc>
                <a:spcPct val="100000"/>
              </a:lnSpc>
              <a:spcBef>
                <a:spcPts val="100"/>
              </a:spcBef>
            </a:pPr>
            <a:r>
              <a:rPr sz="1200" spc="-75" dirty="0">
                <a:solidFill>
                  <a:srgbClr val="FFFFFF"/>
                </a:solidFill>
                <a:latin typeface="Arial"/>
                <a:cs typeface="Arial"/>
              </a:rPr>
              <a:t>Health  </a:t>
            </a:r>
            <a:r>
              <a:rPr sz="1200" spc="-165" dirty="0">
                <a:solidFill>
                  <a:srgbClr val="FFFFFF"/>
                </a:solidFill>
                <a:latin typeface="Arial"/>
                <a:cs typeface="Arial"/>
              </a:rPr>
              <a:t>m</a:t>
            </a:r>
            <a:r>
              <a:rPr sz="1200" spc="-100" dirty="0">
                <a:solidFill>
                  <a:srgbClr val="FFFFFF"/>
                </a:solidFill>
                <a:latin typeface="Arial"/>
                <a:cs typeface="Arial"/>
              </a:rPr>
              <a:t>a</a:t>
            </a:r>
            <a:r>
              <a:rPr sz="1200" spc="-90" dirty="0">
                <a:solidFill>
                  <a:srgbClr val="FFFFFF"/>
                </a:solidFill>
                <a:latin typeface="Arial"/>
                <a:cs typeface="Arial"/>
              </a:rPr>
              <a:t>n</a:t>
            </a:r>
            <a:r>
              <a:rPr sz="1200" spc="-114" dirty="0">
                <a:solidFill>
                  <a:srgbClr val="FFFFFF"/>
                </a:solidFill>
                <a:latin typeface="Arial"/>
                <a:cs typeface="Arial"/>
              </a:rPr>
              <a:t>age</a:t>
            </a:r>
            <a:r>
              <a:rPr sz="1200" spc="-165" dirty="0">
                <a:solidFill>
                  <a:srgbClr val="FFFFFF"/>
                </a:solidFill>
                <a:latin typeface="Arial"/>
                <a:cs typeface="Arial"/>
              </a:rPr>
              <a:t>m</a:t>
            </a:r>
            <a:r>
              <a:rPr sz="1200" spc="-50" dirty="0">
                <a:solidFill>
                  <a:srgbClr val="FFFFFF"/>
                </a:solidFill>
                <a:latin typeface="Arial"/>
                <a:cs typeface="Arial"/>
              </a:rPr>
              <a:t>ent  </a:t>
            </a:r>
            <a:r>
              <a:rPr sz="1200" spc="-80" dirty="0">
                <a:solidFill>
                  <a:srgbClr val="FFFFFF"/>
                </a:solidFill>
                <a:latin typeface="Arial"/>
                <a:cs typeface="Arial"/>
              </a:rPr>
              <a:t>plans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0F6A9CA5-BF7F-4F5D-9728-E1CD64FC183C}"/>
              </a:ext>
            </a:extLst>
          </p:cNvPr>
          <p:cNvSpPr txBox="1"/>
          <p:nvPr/>
        </p:nvSpPr>
        <p:spPr>
          <a:xfrm>
            <a:off x="5162740" y="1754041"/>
            <a:ext cx="51244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78105" marR="5080" indent="-66040">
              <a:lnSpc>
                <a:spcPct val="100000"/>
              </a:lnSpc>
              <a:spcBef>
                <a:spcPts val="100"/>
              </a:spcBef>
            </a:pPr>
            <a:r>
              <a:rPr sz="1200" spc="-229" dirty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r>
              <a:rPr sz="1200" spc="-80" dirty="0">
                <a:solidFill>
                  <a:srgbClr val="FFFFFF"/>
                </a:solidFill>
                <a:latin typeface="Arial"/>
                <a:cs typeface="Arial"/>
              </a:rPr>
              <a:t>-</a:t>
            </a:r>
            <a:r>
              <a:rPr sz="1200" spc="-110" dirty="0">
                <a:solidFill>
                  <a:srgbClr val="FFFFFF"/>
                </a:solidFill>
                <a:latin typeface="Arial"/>
                <a:cs typeface="Arial"/>
              </a:rPr>
              <a:t>he</a:t>
            </a:r>
            <a:r>
              <a:rPr sz="1200" spc="-100" dirty="0">
                <a:solidFill>
                  <a:srgbClr val="FFFFFF"/>
                </a:solidFill>
                <a:latin typeface="Arial"/>
                <a:cs typeface="Arial"/>
              </a:rPr>
              <a:t>a</a:t>
            </a:r>
            <a:r>
              <a:rPr sz="1200" spc="15" dirty="0">
                <a:solidFill>
                  <a:srgbClr val="FFFFFF"/>
                </a:solidFill>
                <a:latin typeface="Arial"/>
                <a:cs typeface="Arial"/>
              </a:rPr>
              <a:t>l</a:t>
            </a:r>
            <a:r>
              <a:rPr sz="1200" spc="30" dirty="0">
                <a:solidFill>
                  <a:srgbClr val="FFFFFF"/>
                </a:solidFill>
                <a:latin typeface="Arial"/>
                <a:cs typeface="Arial"/>
              </a:rPr>
              <a:t>t</a:t>
            </a:r>
            <a:r>
              <a:rPr sz="1200" spc="-65" dirty="0">
                <a:solidFill>
                  <a:srgbClr val="FFFFFF"/>
                </a:solidFill>
                <a:latin typeface="Arial"/>
                <a:cs typeface="Arial"/>
              </a:rPr>
              <a:t>h  </a:t>
            </a:r>
            <a:r>
              <a:rPr sz="1200" spc="-45" dirty="0">
                <a:solidFill>
                  <a:srgbClr val="FFFFFF"/>
                </a:solidFill>
                <a:latin typeface="Arial"/>
                <a:cs typeface="Arial"/>
              </a:rPr>
              <a:t>profile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34" name="object 15">
            <a:extLst>
              <a:ext uri="{FF2B5EF4-FFF2-40B4-BE49-F238E27FC236}">
                <a16:creationId xmlns:a16="http://schemas.microsoft.com/office/drawing/2014/main" id="{3CCC34E2-EC0F-452C-97FF-C3AB9F74B9C8}"/>
              </a:ext>
            </a:extLst>
          </p:cNvPr>
          <p:cNvSpPr/>
          <p:nvPr/>
        </p:nvSpPr>
        <p:spPr>
          <a:xfrm rot="825948">
            <a:off x="6271260" y="4551343"/>
            <a:ext cx="1272540" cy="1167765"/>
          </a:xfrm>
          <a:custGeom>
            <a:avLst/>
            <a:gdLst/>
            <a:ahLst/>
            <a:cxnLst/>
            <a:rect l="l" t="t" r="r" b="b"/>
            <a:pathLst>
              <a:path w="1272540" h="1167764">
                <a:moveTo>
                  <a:pt x="453009" y="0"/>
                </a:moveTo>
                <a:lnTo>
                  <a:pt x="442341" y="15747"/>
                </a:lnTo>
                <a:lnTo>
                  <a:pt x="431673" y="31622"/>
                </a:lnTo>
                <a:lnTo>
                  <a:pt x="420497" y="47116"/>
                </a:lnTo>
                <a:lnTo>
                  <a:pt x="385572" y="92709"/>
                </a:lnTo>
                <a:lnTo>
                  <a:pt x="361315" y="122554"/>
                </a:lnTo>
                <a:lnTo>
                  <a:pt x="348488" y="137032"/>
                </a:lnTo>
                <a:lnTo>
                  <a:pt x="336042" y="151256"/>
                </a:lnTo>
                <a:lnTo>
                  <a:pt x="322961" y="165353"/>
                </a:lnTo>
                <a:lnTo>
                  <a:pt x="296164" y="193166"/>
                </a:lnTo>
                <a:lnTo>
                  <a:pt x="282321" y="206882"/>
                </a:lnTo>
                <a:lnTo>
                  <a:pt x="268350" y="219963"/>
                </a:lnTo>
                <a:lnTo>
                  <a:pt x="254508" y="233171"/>
                </a:lnTo>
                <a:lnTo>
                  <a:pt x="225298" y="259079"/>
                </a:lnTo>
                <a:lnTo>
                  <a:pt x="195580" y="284098"/>
                </a:lnTo>
                <a:lnTo>
                  <a:pt x="164719" y="308355"/>
                </a:lnTo>
                <a:lnTo>
                  <a:pt x="133350" y="331469"/>
                </a:lnTo>
                <a:lnTo>
                  <a:pt x="100965" y="353948"/>
                </a:lnTo>
                <a:lnTo>
                  <a:pt x="51308" y="385825"/>
                </a:lnTo>
                <a:lnTo>
                  <a:pt x="17145" y="405764"/>
                </a:lnTo>
                <a:lnTo>
                  <a:pt x="0" y="415543"/>
                </a:lnTo>
                <a:lnTo>
                  <a:pt x="472948" y="1167383"/>
                </a:lnTo>
                <a:lnTo>
                  <a:pt x="503682" y="1150594"/>
                </a:lnTo>
                <a:lnTo>
                  <a:pt x="534289" y="1133068"/>
                </a:lnTo>
                <a:lnTo>
                  <a:pt x="593979" y="1096987"/>
                </a:lnTo>
                <a:lnTo>
                  <a:pt x="652653" y="1059408"/>
                </a:lnTo>
                <a:lnTo>
                  <a:pt x="709422" y="1020089"/>
                </a:lnTo>
                <a:lnTo>
                  <a:pt x="765301" y="979004"/>
                </a:lnTo>
                <a:lnTo>
                  <a:pt x="819531" y="936409"/>
                </a:lnTo>
                <a:lnTo>
                  <a:pt x="872490" y="892555"/>
                </a:lnTo>
                <a:lnTo>
                  <a:pt x="923417" y="846962"/>
                </a:lnTo>
                <a:lnTo>
                  <a:pt x="997331" y="776096"/>
                </a:lnTo>
                <a:lnTo>
                  <a:pt x="1044575" y="726947"/>
                </a:lnTo>
                <a:lnTo>
                  <a:pt x="1089787" y="676655"/>
                </a:lnTo>
                <a:lnTo>
                  <a:pt x="1133475" y="624712"/>
                </a:lnTo>
                <a:lnTo>
                  <a:pt x="1175766" y="571880"/>
                </a:lnTo>
                <a:lnTo>
                  <a:pt x="1215771" y="517524"/>
                </a:lnTo>
                <a:lnTo>
                  <a:pt x="1254252" y="462152"/>
                </a:lnTo>
                <a:lnTo>
                  <a:pt x="1272540" y="433831"/>
                </a:lnTo>
                <a:lnTo>
                  <a:pt x="453009" y="0"/>
                </a:lnTo>
                <a:close/>
              </a:path>
            </a:pathLst>
          </a:custGeom>
          <a:solidFill>
            <a:srgbClr val="EC7C3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18">
            <a:extLst>
              <a:ext uri="{FF2B5EF4-FFF2-40B4-BE49-F238E27FC236}">
                <a16:creationId xmlns:a16="http://schemas.microsoft.com/office/drawing/2014/main" id="{043789D7-1652-4E48-9A85-0C200C7144CF}"/>
              </a:ext>
            </a:extLst>
          </p:cNvPr>
          <p:cNvSpPr/>
          <p:nvPr/>
        </p:nvSpPr>
        <p:spPr>
          <a:xfrm rot="464035">
            <a:off x="7086600" y="3801408"/>
            <a:ext cx="1111250" cy="1003300"/>
          </a:xfrm>
          <a:custGeom>
            <a:avLst/>
            <a:gdLst/>
            <a:ahLst/>
            <a:cxnLst/>
            <a:rect l="l" t="t" r="r" b="b"/>
            <a:pathLst>
              <a:path w="1111250" h="1003300">
                <a:moveTo>
                  <a:pt x="1110996" y="0"/>
                </a:moveTo>
                <a:lnTo>
                  <a:pt x="165353" y="0"/>
                </a:lnTo>
                <a:lnTo>
                  <a:pt x="164846" y="19050"/>
                </a:lnTo>
                <a:lnTo>
                  <a:pt x="164083" y="38354"/>
                </a:lnTo>
                <a:lnTo>
                  <a:pt x="162941" y="57658"/>
                </a:lnTo>
                <a:lnTo>
                  <a:pt x="161544" y="76708"/>
                </a:lnTo>
                <a:lnTo>
                  <a:pt x="157733" y="114300"/>
                </a:lnTo>
                <a:lnTo>
                  <a:pt x="155067" y="133350"/>
                </a:lnTo>
                <a:lnTo>
                  <a:pt x="152653" y="152019"/>
                </a:lnTo>
                <a:lnTo>
                  <a:pt x="149351" y="170561"/>
                </a:lnTo>
                <a:lnTo>
                  <a:pt x="146303" y="189103"/>
                </a:lnTo>
                <a:lnTo>
                  <a:pt x="142494" y="207391"/>
                </a:lnTo>
                <a:lnTo>
                  <a:pt x="138429" y="225933"/>
                </a:lnTo>
                <a:lnTo>
                  <a:pt x="134620" y="244221"/>
                </a:lnTo>
                <a:lnTo>
                  <a:pt x="129921" y="262255"/>
                </a:lnTo>
                <a:lnTo>
                  <a:pt x="114426" y="315976"/>
                </a:lnTo>
                <a:lnTo>
                  <a:pt x="96139" y="368681"/>
                </a:lnTo>
                <a:lnTo>
                  <a:pt x="89916" y="386207"/>
                </a:lnTo>
                <a:lnTo>
                  <a:pt x="83057" y="403225"/>
                </a:lnTo>
                <a:lnTo>
                  <a:pt x="76073" y="420243"/>
                </a:lnTo>
                <a:lnTo>
                  <a:pt x="68452" y="437388"/>
                </a:lnTo>
                <a:lnTo>
                  <a:pt x="61086" y="454152"/>
                </a:lnTo>
                <a:lnTo>
                  <a:pt x="52831" y="470662"/>
                </a:lnTo>
                <a:lnTo>
                  <a:pt x="44957" y="487172"/>
                </a:lnTo>
                <a:lnTo>
                  <a:pt x="36195" y="504063"/>
                </a:lnTo>
                <a:lnTo>
                  <a:pt x="27812" y="520319"/>
                </a:lnTo>
                <a:lnTo>
                  <a:pt x="18796" y="536321"/>
                </a:lnTo>
                <a:lnTo>
                  <a:pt x="0" y="568198"/>
                </a:lnTo>
                <a:lnTo>
                  <a:pt x="819150" y="1002792"/>
                </a:lnTo>
                <a:lnTo>
                  <a:pt x="852424" y="946658"/>
                </a:lnTo>
                <a:lnTo>
                  <a:pt x="884047" y="889635"/>
                </a:lnTo>
                <a:lnTo>
                  <a:pt x="913383" y="831215"/>
                </a:lnTo>
                <a:lnTo>
                  <a:pt x="941451" y="772287"/>
                </a:lnTo>
                <a:lnTo>
                  <a:pt x="966851" y="712216"/>
                </a:lnTo>
                <a:lnTo>
                  <a:pt x="990853" y="651256"/>
                </a:lnTo>
                <a:lnTo>
                  <a:pt x="1012571" y="589534"/>
                </a:lnTo>
                <a:lnTo>
                  <a:pt x="1032509" y="526796"/>
                </a:lnTo>
                <a:lnTo>
                  <a:pt x="1049908" y="463423"/>
                </a:lnTo>
                <a:lnTo>
                  <a:pt x="1065529" y="399161"/>
                </a:lnTo>
                <a:lnTo>
                  <a:pt x="1078610" y="334264"/>
                </a:lnTo>
                <a:lnTo>
                  <a:pt x="1089405" y="268605"/>
                </a:lnTo>
                <a:lnTo>
                  <a:pt x="1098423" y="202311"/>
                </a:lnTo>
                <a:lnTo>
                  <a:pt x="1105027" y="135382"/>
                </a:lnTo>
                <a:lnTo>
                  <a:pt x="1109345" y="67945"/>
                </a:lnTo>
                <a:lnTo>
                  <a:pt x="1110487" y="33909"/>
                </a:lnTo>
                <a:lnTo>
                  <a:pt x="1110996" y="0"/>
                </a:lnTo>
                <a:close/>
              </a:path>
            </a:pathLst>
          </a:custGeom>
          <a:solidFill>
            <a:srgbClr val="5B9BD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19">
            <a:extLst>
              <a:ext uri="{FF2B5EF4-FFF2-40B4-BE49-F238E27FC236}">
                <a16:creationId xmlns:a16="http://schemas.microsoft.com/office/drawing/2014/main" id="{869524CC-97C5-4EA6-80DE-E7456FF82E3B}"/>
              </a:ext>
            </a:extLst>
          </p:cNvPr>
          <p:cNvSpPr/>
          <p:nvPr/>
        </p:nvSpPr>
        <p:spPr>
          <a:xfrm rot="21136685">
            <a:off x="3948566" y="3883700"/>
            <a:ext cx="1111250" cy="1003300"/>
          </a:xfrm>
          <a:custGeom>
            <a:avLst/>
            <a:gdLst/>
            <a:ahLst/>
            <a:cxnLst/>
            <a:rect l="l" t="t" r="r" b="b"/>
            <a:pathLst>
              <a:path w="1111250" h="1003300">
                <a:moveTo>
                  <a:pt x="945641" y="0"/>
                </a:moveTo>
                <a:lnTo>
                  <a:pt x="0" y="0"/>
                </a:lnTo>
                <a:lnTo>
                  <a:pt x="508" y="33909"/>
                </a:lnTo>
                <a:lnTo>
                  <a:pt x="5968" y="135382"/>
                </a:lnTo>
                <a:lnTo>
                  <a:pt x="12573" y="202311"/>
                </a:lnTo>
                <a:lnTo>
                  <a:pt x="21589" y="268605"/>
                </a:lnTo>
                <a:lnTo>
                  <a:pt x="32385" y="334264"/>
                </a:lnTo>
                <a:lnTo>
                  <a:pt x="45465" y="399161"/>
                </a:lnTo>
                <a:lnTo>
                  <a:pt x="61087" y="463423"/>
                </a:lnTo>
                <a:lnTo>
                  <a:pt x="78486" y="526796"/>
                </a:lnTo>
                <a:lnTo>
                  <a:pt x="98425" y="589534"/>
                </a:lnTo>
                <a:lnTo>
                  <a:pt x="120141" y="651256"/>
                </a:lnTo>
                <a:lnTo>
                  <a:pt x="144144" y="712216"/>
                </a:lnTo>
                <a:lnTo>
                  <a:pt x="169544" y="772287"/>
                </a:lnTo>
                <a:lnTo>
                  <a:pt x="197612" y="831215"/>
                </a:lnTo>
                <a:lnTo>
                  <a:pt x="226949" y="889635"/>
                </a:lnTo>
                <a:lnTo>
                  <a:pt x="258572" y="946658"/>
                </a:lnTo>
                <a:lnTo>
                  <a:pt x="291846" y="1002792"/>
                </a:lnTo>
                <a:lnTo>
                  <a:pt x="1110996" y="568198"/>
                </a:lnTo>
                <a:lnTo>
                  <a:pt x="1092200" y="536321"/>
                </a:lnTo>
                <a:lnTo>
                  <a:pt x="1083183" y="520319"/>
                </a:lnTo>
                <a:lnTo>
                  <a:pt x="1074801" y="504063"/>
                </a:lnTo>
                <a:lnTo>
                  <a:pt x="1066038" y="487172"/>
                </a:lnTo>
                <a:lnTo>
                  <a:pt x="1058164" y="470916"/>
                </a:lnTo>
                <a:lnTo>
                  <a:pt x="1049909" y="454152"/>
                </a:lnTo>
                <a:lnTo>
                  <a:pt x="1042542" y="437388"/>
                </a:lnTo>
                <a:lnTo>
                  <a:pt x="1034923" y="420243"/>
                </a:lnTo>
                <a:lnTo>
                  <a:pt x="1027938" y="403225"/>
                </a:lnTo>
                <a:lnTo>
                  <a:pt x="1021079" y="386207"/>
                </a:lnTo>
                <a:lnTo>
                  <a:pt x="1014856" y="368681"/>
                </a:lnTo>
                <a:lnTo>
                  <a:pt x="1008252" y="351282"/>
                </a:lnTo>
                <a:lnTo>
                  <a:pt x="991108" y="298196"/>
                </a:lnTo>
                <a:lnTo>
                  <a:pt x="976376" y="244221"/>
                </a:lnTo>
                <a:lnTo>
                  <a:pt x="972565" y="225933"/>
                </a:lnTo>
                <a:lnTo>
                  <a:pt x="968501" y="207391"/>
                </a:lnTo>
                <a:lnTo>
                  <a:pt x="964691" y="189103"/>
                </a:lnTo>
                <a:lnTo>
                  <a:pt x="961643" y="170561"/>
                </a:lnTo>
                <a:lnTo>
                  <a:pt x="958341" y="152019"/>
                </a:lnTo>
                <a:lnTo>
                  <a:pt x="955928" y="133350"/>
                </a:lnTo>
                <a:lnTo>
                  <a:pt x="953262" y="114300"/>
                </a:lnTo>
                <a:lnTo>
                  <a:pt x="949451" y="76708"/>
                </a:lnTo>
                <a:lnTo>
                  <a:pt x="948054" y="57658"/>
                </a:lnTo>
                <a:lnTo>
                  <a:pt x="946912" y="38354"/>
                </a:lnTo>
                <a:lnTo>
                  <a:pt x="946150" y="19050"/>
                </a:lnTo>
                <a:lnTo>
                  <a:pt x="945641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20">
            <a:extLst>
              <a:ext uri="{FF2B5EF4-FFF2-40B4-BE49-F238E27FC236}">
                <a16:creationId xmlns:a16="http://schemas.microsoft.com/office/drawing/2014/main" id="{8CC57CE2-91AB-42FF-8F0B-C273279B6208}"/>
              </a:ext>
            </a:extLst>
          </p:cNvPr>
          <p:cNvSpPr/>
          <p:nvPr/>
        </p:nvSpPr>
        <p:spPr>
          <a:xfrm rot="496483">
            <a:off x="4774565" y="4624702"/>
            <a:ext cx="1092835" cy="1021080"/>
          </a:xfrm>
          <a:custGeom>
            <a:avLst/>
            <a:gdLst/>
            <a:ahLst/>
            <a:cxnLst/>
            <a:rect l="l" t="t" r="r" b="b"/>
            <a:pathLst>
              <a:path w="1092835" h="1021079">
                <a:moveTo>
                  <a:pt x="473328" y="0"/>
                </a:moveTo>
                <a:lnTo>
                  <a:pt x="0" y="752957"/>
                </a:lnTo>
                <a:lnTo>
                  <a:pt x="61340" y="783551"/>
                </a:lnTo>
                <a:lnTo>
                  <a:pt x="91947" y="798106"/>
                </a:lnTo>
                <a:lnTo>
                  <a:pt x="154939" y="826198"/>
                </a:lnTo>
                <a:lnTo>
                  <a:pt x="218820" y="852525"/>
                </a:lnTo>
                <a:lnTo>
                  <a:pt x="283717" y="877112"/>
                </a:lnTo>
                <a:lnTo>
                  <a:pt x="349757" y="899934"/>
                </a:lnTo>
                <a:lnTo>
                  <a:pt x="416559" y="921003"/>
                </a:lnTo>
                <a:lnTo>
                  <a:pt x="484250" y="939812"/>
                </a:lnTo>
                <a:lnTo>
                  <a:pt x="553084" y="957122"/>
                </a:lnTo>
                <a:lnTo>
                  <a:pt x="622553" y="972172"/>
                </a:lnTo>
                <a:lnTo>
                  <a:pt x="728217" y="991488"/>
                </a:lnTo>
                <a:lnTo>
                  <a:pt x="799972" y="1001521"/>
                </a:lnTo>
                <a:lnTo>
                  <a:pt x="871981" y="1009548"/>
                </a:lnTo>
                <a:lnTo>
                  <a:pt x="945133" y="1015568"/>
                </a:lnTo>
                <a:lnTo>
                  <a:pt x="1055624" y="1020571"/>
                </a:lnTo>
                <a:lnTo>
                  <a:pt x="1092707" y="1021079"/>
                </a:lnTo>
                <a:lnTo>
                  <a:pt x="1092707" y="152018"/>
                </a:lnTo>
                <a:lnTo>
                  <a:pt x="1071752" y="151510"/>
                </a:lnTo>
                <a:lnTo>
                  <a:pt x="1050670" y="150748"/>
                </a:lnTo>
                <a:lnTo>
                  <a:pt x="1009268" y="148462"/>
                </a:lnTo>
                <a:lnTo>
                  <a:pt x="967993" y="145033"/>
                </a:lnTo>
                <a:lnTo>
                  <a:pt x="926845" y="140207"/>
                </a:lnTo>
                <a:lnTo>
                  <a:pt x="886713" y="134492"/>
                </a:lnTo>
                <a:lnTo>
                  <a:pt x="846327" y="127381"/>
                </a:lnTo>
                <a:lnTo>
                  <a:pt x="806830" y="119379"/>
                </a:lnTo>
                <a:lnTo>
                  <a:pt x="748411" y="105156"/>
                </a:lnTo>
                <a:lnTo>
                  <a:pt x="709929" y="94360"/>
                </a:lnTo>
                <a:lnTo>
                  <a:pt x="671956" y="82550"/>
                </a:lnTo>
                <a:lnTo>
                  <a:pt x="597788" y="56133"/>
                </a:lnTo>
                <a:lnTo>
                  <a:pt x="543432" y="33400"/>
                </a:lnTo>
                <a:lnTo>
                  <a:pt x="525779" y="25526"/>
                </a:lnTo>
                <a:lnTo>
                  <a:pt x="473328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21">
            <a:extLst>
              <a:ext uri="{FF2B5EF4-FFF2-40B4-BE49-F238E27FC236}">
                <a16:creationId xmlns:a16="http://schemas.microsoft.com/office/drawing/2014/main" id="{1316BAE4-9692-4969-8316-04DC5E7D20E8}"/>
              </a:ext>
            </a:extLst>
          </p:cNvPr>
          <p:cNvSpPr txBox="1"/>
          <p:nvPr/>
        </p:nvSpPr>
        <p:spPr>
          <a:xfrm>
            <a:off x="4219096" y="4078902"/>
            <a:ext cx="47180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6034" marR="5080" indent="-13970">
              <a:lnSpc>
                <a:spcPct val="100000"/>
              </a:lnSpc>
              <a:spcBef>
                <a:spcPts val="100"/>
              </a:spcBef>
            </a:pPr>
            <a:r>
              <a:rPr sz="1200" spc="-120" dirty="0">
                <a:solidFill>
                  <a:srgbClr val="FFFFFF"/>
                </a:solidFill>
                <a:latin typeface="Arial"/>
                <a:cs typeface="Arial"/>
              </a:rPr>
              <a:t>Second  </a:t>
            </a:r>
            <a:r>
              <a:rPr sz="1200" spc="-65" dirty="0">
                <a:solidFill>
                  <a:srgbClr val="FFFFFF"/>
                </a:solidFill>
                <a:latin typeface="Arial"/>
                <a:cs typeface="Arial"/>
              </a:rPr>
              <a:t>opi</a:t>
            </a:r>
            <a:r>
              <a:rPr sz="1200" spc="-60" dirty="0">
                <a:solidFill>
                  <a:srgbClr val="FFFFFF"/>
                </a:solidFill>
                <a:latin typeface="Arial"/>
                <a:cs typeface="Arial"/>
              </a:rPr>
              <a:t>n</a:t>
            </a:r>
            <a:r>
              <a:rPr sz="1200" spc="-25" dirty="0">
                <a:solidFill>
                  <a:srgbClr val="FFFFFF"/>
                </a:solidFill>
                <a:latin typeface="Arial"/>
                <a:cs typeface="Arial"/>
              </a:rPr>
              <a:t>i</a:t>
            </a:r>
            <a:r>
              <a:rPr sz="1200" spc="-110" dirty="0">
                <a:solidFill>
                  <a:srgbClr val="FFFFFF"/>
                </a:solidFill>
                <a:latin typeface="Arial"/>
                <a:cs typeface="Arial"/>
              </a:rPr>
              <a:t>on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39" name="object 22">
            <a:extLst>
              <a:ext uri="{FF2B5EF4-FFF2-40B4-BE49-F238E27FC236}">
                <a16:creationId xmlns:a16="http://schemas.microsoft.com/office/drawing/2014/main" id="{5110901A-E55C-422D-8F1A-AC1B937BD17E}"/>
              </a:ext>
            </a:extLst>
          </p:cNvPr>
          <p:cNvSpPr txBox="1"/>
          <p:nvPr/>
        </p:nvSpPr>
        <p:spPr>
          <a:xfrm>
            <a:off x="5147817" y="4929673"/>
            <a:ext cx="51244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50800" marR="5080" indent="-38100">
              <a:lnSpc>
                <a:spcPct val="100000"/>
              </a:lnSpc>
              <a:spcBef>
                <a:spcPts val="100"/>
              </a:spcBef>
            </a:pPr>
            <a:r>
              <a:rPr sz="1200" spc="-130" dirty="0">
                <a:solidFill>
                  <a:srgbClr val="FFFFFF"/>
                </a:solidFill>
                <a:latin typeface="Arial"/>
                <a:cs typeface="Arial"/>
              </a:rPr>
              <a:t>Hos</a:t>
            </a:r>
            <a:r>
              <a:rPr sz="1200" spc="-120" dirty="0">
                <a:solidFill>
                  <a:srgbClr val="FFFFFF"/>
                </a:solidFill>
                <a:latin typeface="Arial"/>
                <a:cs typeface="Arial"/>
              </a:rPr>
              <a:t>p</a:t>
            </a:r>
            <a:r>
              <a:rPr sz="1200" spc="15" dirty="0">
                <a:solidFill>
                  <a:srgbClr val="FFFFFF"/>
                </a:solidFill>
                <a:latin typeface="Arial"/>
                <a:cs typeface="Arial"/>
              </a:rPr>
              <a:t>i</a:t>
            </a:r>
            <a:r>
              <a:rPr sz="1200" spc="30" dirty="0">
                <a:solidFill>
                  <a:srgbClr val="FFFFFF"/>
                </a:solidFill>
                <a:latin typeface="Arial"/>
                <a:cs typeface="Arial"/>
              </a:rPr>
              <a:t>t</a:t>
            </a:r>
            <a:r>
              <a:rPr sz="1200" spc="-40" dirty="0">
                <a:solidFill>
                  <a:srgbClr val="FFFFFF"/>
                </a:solidFill>
                <a:latin typeface="Arial"/>
                <a:cs typeface="Arial"/>
              </a:rPr>
              <a:t>al  </a:t>
            </a:r>
            <a:r>
              <a:rPr sz="1200" spc="-50" dirty="0">
                <a:solidFill>
                  <a:srgbClr val="FFFFFF"/>
                </a:solidFill>
                <a:latin typeface="Arial"/>
                <a:cs typeface="Arial"/>
              </a:rPr>
              <a:t>referral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40" name="object 23">
            <a:extLst>
              <a:ext uri="{FF2B5EF4-FFF2-40B4-BE49-F238E27FC236}">
                <a16:creationId xmlns:a16="http://schemas.microsoft.com/office/drawing/2014/main" id="{7D28D53D-D0A1-42A5-81C3-A86A400195AD}"/>
              </a:ext>
            </a:extLst>
          </p:cNvPr>
          <p:cNvSpPr txBox="1"/>
          <p:nvPr/>
        </p:nvSpPr>
        <p:spPr>
          <a:xfrm>
            <a:off x="7315707" y="4001134"/>
            <a:ext cx="772795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63195" marR="5080" indent="-151130">
              <a:lnSpc>
                <a:spcPct val="100000"/>
              </a:lnSpc>
              <a:spcBef>
                <a:spcPts val="100"/>
              </a:spcBef>
            </a:pPr>
            <a:r>
              <a:rPr sz="1200" spc="-135" dirty="0">
                <a:solidFill>
                  <a:srgbClr val="FFFFFF"/>
                </a:solidFill>
                <a:latin typeface="Arial"/>
                <a:cs typeface="Arial"/>
              </a:rPr>
              <a:t>Ap</a:t>
            </a:r>
            <a:r>
              <a:rPr sz="1200" spc="-120" dirty="0">
                <a:solidFill>
                  <a:srgbClr val="FFFFFF"/>
                </a:solidFill>
                <a:latin typeface="Arial"/>
                <a:cs typeface="Arial"/>
              </a:rPr>
              <a:t>p</a:t>
            </a:r>
            <a:r>
              <a:rPr sz="1200" spc="-65" dirty="0">
                <a:solidFill>
                  <a:srgbClr val="FFFFFF"/>
                </a:solidFill>
                <a:latin typeface="Arial"/>
                <a:cs typeface="Arial"/>
              </a:rPr>
              <a:t>oin</a:t>
            </a:r>
            <a:r>
              <a:rPr sz="1200" spc="-35" dirty="0">
                <a:solidFill>
                  <a:srgbClr val="FFFFFF"/>
                </a:solidFill>
                <a:latin typeface="Arial"/>
                <a:cs typeface="Arial"/>
              </a:rPr>
              <a:t>t</a:t>
            </a:r>
            <a:r>
              <a:rPr sz="1200" spc="-95" dirty="0">
                <a:solidFill>
                  <a:srgbClr val="FFFFFF"/>
                </a:solidFill>
                <a:latin typeface="Arial"/>
                <a:cs typeface="Arial"/>
              </a:rPr>
              <a:t>m</a:t>
            </a:r>
            <a:r>
              <a:rPr sz="1200" spc="-50" dirty="0">
                <a:solidFill>
                  <a:srgbClr val="FFFFFF"/>
                </a:solidFill>
                <a:latin typeface="Arial"/>
                <a:cs typeface="Arial"/>
              </a:rPr>
              <a:t>ent  </a:t>
            </a:r>
            <a:r>
              <a:rPr sz="1200" spc="-90" dirty="0">
                <a:solidFill>
                  <a:srgbClr val="FFFFFF"/>
                </a:solidFill>
                <a:latin typeface="Arial"/>
                <a:cs typeface="Arial"/>
              </a:rPr>
              <a:t>services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41" name="object 25">
            <a:extLst>
              <a:ext uri="{FF2B5EF4-FFF2-40B4-BE49-F238E27FC236}">
                <a16:creationId xmlns:a16="http://schemas.microsoft.com/office/drawing/2014/main" id="{5C3129A5-B879-4570-95B8-A27A30E3EFBD}"/>
              </a:ext>
            </a:extLst>
          </p:cNvPr>
          <p:cNvSpPr txBox="1"/>
          <p:nvPr/>
        </p:nvSpPr>
        <p:spPr>
          <a:xfrm>
            <a:off x="6552565" y="4851063"/>
            <a:ext cx="558800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175" algn="ctr">
              <a:lnSpc>
                <a:spcPct val="100000"/>
              </a:lnSpc>
              <a:spcBef>
                <a:spcPts val="100"/>
              </a:spcBef>
            </a:pPr>
            <a:r>
              <a:rPr sz="1200" spc="-75" dirty="0">
                <a:solidFill>
                  <a:srgbClr val="FFFFFF"/>
                </a:solidFill>
                <a:latin typeface="Arial"/>
                <a:cs typeface="Arial"/>
              </a:rPr>
              <a:t>Health</a:t>
            </a:r>
            <a:endParaRPr sz="1200" dirty="0">
              <a:latin typeface="Arial"/>
              <a:cs typeface="Arial"/>
            </a:endParaRPr>
          </a:p>
          <a:p>
            <a:pPr algn="ctr">
              <a:lnSpc>
                <a:spcPct val="100000"/>
              </a:lnSpc>
            </a:pPr>
            <a:r>
              <a:rPr sz="1200" spc="-90" dirty="0">
                <a:solidFill>
                  <a:srgbClr val="FFFFFF"/>
                </a:solidFill>
                <a:latin typeface="Arial"/>
                <a:cs typeface="Arial"/>
              </a:rPr>
              <a:t>check-up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42" name="object 27">
            <a:extLst>
              <a:ext uri="{FF2B5EF4-FFF2-40B4-BE49-F238E27FC236}">
                <a16:creationId xmlns:a16="http://schemas.microsoft.com/office/drawing/2014/main" id="{43D5CACB-86A8-4276-9E78-36FC78F364AD}"/>
              </a:ext>
            </a:extLst>
          </p:cNvPr>
          <p:cNvSpPr/>
          <p:nvPr/>
        </p:nvSpPr>
        <p:spPr>
          <a:xfrm>
            <a:off x="5297423" y="3233463"/>
            <a:ext cx="161543" cy="181356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28">
            <a:extLst>
              <a:ext uri="{FF2B5EF4-FFF2-40B4-BE49-F238E27FC236}">
                <a16:creationId xmlns:a16="http://schemas.microsoft.com/office/drawing/2014/main" id="{CF116AF2-9954-49B5-A264-F6EE83583182}"/>
              </a:ext>
            </a:extLst>
          </p:cNvPr>
          <p:cNvSpPr/>
          <p:nvPr/>
        </p:nvSpPr>
        <p:spPr>
          <a:xfrm>
            <a:off x="5198391" y="3401104"/>
            <a:ext cx="382905" cy="320040"/>
          </a:xfrm>
          <a:custGeom>
            <a:avLst/>
            <a:gdLst/>
            <a:ahLst/>
            <a:cxnLst/>
            <a:rect l="l" t="t" r="r" b="b"/>
            <a:pathLst>
              <a:path w="382904" h="320039">
                <a:moveTo>
                  <a:pt x="323441" y="0"/>
                </a:moveTo>
                <a:lnTo>
                  <a:pt x="264513" y="0"/>
                </a:lnTo>
                <a:lnTo>
                  <a:pt x="270418" y="30237"/>
                </a:lnTo>
                <a:lnTo>
                  <a:pt x="270418" y="61213"/>
                </a:lnTo>
                <a:lnTo>
                  <a:pt x="252702" y="122427"/>
                </a:lnTo>
                <a:lnTo>
                  <a:pt x="218745" y="174291"/>
                </a:lnTo>
                <a:lnTo>
                  <a:pt x="170025" y="217296"/>
                </a:lnTo>
                <a:lnTo>
                  <a:pt x="123781" y="237585"/>
                </a:lnTo>
                <a:lnTo>
                  <a:pt x="71727" y="248919"/>
                </a:lnTo>
                <a:lnTo>
                  <a:pt x="55979" y="248919"/>
                </a:lnTo>
                <a:lnTo>
                  <a:pt x="55979" y="320039"/>
                </a:lnTo>
                <a:lnTo>
                  <a:pt x="280261" y="320039"/>
                </a:lnTo>
                <a:lnTo>
                  <a:pt x="284198" y="98805"/>
                </a:lnTo>
                <a:lnTo>
                  <a:pt x="382496" y="98805"/>
                </a:lnTo>
                <a:lnTo>
                  <a:pt x="382434" y="74070"/>
                </a:lnTo>
                <a:lnTo>
                  <a:pt x="382004" y="65198"/>
                </a:lnTo>
                <a:lnTo>
                  <a:pt x="380835" y="56302"/>
                </a:lnTo>
                <a:lnTo>
                  <a:pt x="378559" y="47370"/>
                </a:lnTo>
                <a:lnTo>
                  <a:pt x="377205" y="40850"/>
                </a:lnTo>
                <a:lnTo>
                  <a:pt x="346078" y="5429"/>
                </a:lnTo>
                <a:lnTo>
                  <a:pt x="335129" y="1416"/>
                </a:lnTo>
                <a:lnTo>
                  <a:pt x="323441" y="0"/>
                </a:lnTo>
                <a:close/>
              </a:path>
              <a:path w="382904" h="320039">
                <a:moveTo>
                  <a:pt x="382496" y="98805"/>
                </a:moveTo>
                <a:lnTo>
                  <a:pt x="319504" y="98805"/>
                </a:lnTo>
                <a:lnTo>
                  <a:pt x="319504" y="320039"/>
                </a:lnTo>
                <a:lnTo>
                  <a:pt x="382496" y="320039"/>
                </a:lnTo>
                <a:lnTo>
                  <a:pt x="382496" y="98805"/>
                </a:lnTo>
                <a:close/>
              </a:path>
              <a:path w="382904" h="320039">
                <a:moveTo>
                  <a:pt x="221206" y="0"/>
                </a:moveTo>
                <a:lnTo>
                  <a:pt x="63853" y="0"/>
                </a:lnTo>
                <a:lnTo>
                  <a:pt x="49827" y="1416"/>
                </a:lnTo>
                <a:lnTo>
                  <a:pt x="8612" y="28733"/>
                </a:lnTo>
                <a:lnTo>
                  <a:pt x="0" y="48101"/>
                </a:lnTo>
                <a:lnTo>
                  <a:pt x="861" y="59308"/>
                </a:lnTo>
                <a:lnTo>
                  <a:pt x="861" y="221233"/>
                </a:lnTo>
                <a:lnTo>
                  <a:pt x="4798" y="229107"/>
                </a:lnTo>
                <a:lnTo>
                  <a:pt x="8735" y="237108"/>
                </a:lnTo>
                <a:lnTo>
                  <a:pt x="24483" y="244982"/>
                </a:lnTo>
                <a:lnTo>
                  <a:pt x="32726" y="247812"/>
                </a:lnTo>
                <a:lnTo>
                  <a:pt x="40231" y="249904"/>
                </a:lnTo>
                <a:lnTo>
                  <a:pt x="47736" y="250519"/>
                </a:lnTo>
                <a:lnTo>
                  <a:pt x="55979" y="248919"/>
                </a:lnTo>
                <a:lnTo>
                  <a:pt x="71727" y="248919"/>
                </a:lnTo>
                <a:lnTo>
                  <a:pt x="128697" y="154050"/>
                </a:lnTo>
                <a:lnTo>
                  <a:pt x="55979" y="154050"/>
                </a:lnTo>
                <a:lnTo>
                  <a:pt x="55979" y="94868"/>
                </a:lnTo>
                <a:lnTo>
                  <a:pt x="164236" y="94868"/>
                </a:lnTo>
                <a:lnTo>
                  <a:pt x="221206" y="0"/>
                </a:lnTo>
                <a:close/>
              </a:path>
              <a:path w="382904" h="320039">
                <a:moveTo>
                  <a:pt x="164236" y="94868"/>
                </a:moveTo>
                <a:lnTo>
                  <a:pt x="91412" y="94868"/>
                </a:lnTo>
                <a:lnTo>
                  <a:pt x="91412" y="154050"/>
                </a:lnTo>
                <a:lnTo>
                  <a:pt x="128697" y="154050"/>
                </a:lnTo>
                <a:lnTo>
                  <a:pt x="164236" y="9486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29">
            <a:extLst>
              <a:ext uri="{FF2B5EF4-FFF2-40B4-BE49-F238E27FC236}">
                <a16:creationId xmlns:a16="http://schemas.microsoft.com/office/drawing/2014/main" id="{3ACDBD95-1C56-4ADF-93E3-0945D96DE2E3}"/>
              </a:ext>
            </a:extLst>
          </p:cNvPr>
          <p:cNvSpPr/>
          <p:nvPr/>
        </p:nvSpPr>
        <p:spPr>
          <a:xfrm>
            <a:off x="5785103" y="3233463"/>
            <a:ext cx="161544" cy="181356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30">
            <a:extLst>
              <a:ext uri="{FF2B5EF4-FFF2-40B4-BE49-F238E27FC236}">
                <a16:creationId xmlns:a16="http://schemas.microsoft.com/office/drawing/2014/main" id="{0D19CE10-38D6-4E24-AEC3-AD438AB9FDE4}"/>
              </a:ext>
            </a:extLst>
          </p:cNvPr>
          <p:cNvSpPr/>
          <p:nvPr/>
        </p:nvSpPr>
        <p:spPr>
          <a:xfrm>
            <a:off x="5686071" y="3401104"/>
            <a:ext cx="382905" cy="320040"/>
          </a:xfrm>
          <a:custGeom>
            <a:avLst/>
            <a:gdLst/>
            <a:ahLst/>
            <a:cxnLst/>
            <a:rect l="l" t="t" r="r" b="b"/>
            <a:pathLst>
              <a:path w="382904" h="320039">
                <a:moveTo>
                  <a:pt x="323441" y="0"/>
                </a:moveTo>
                <a:lnTo>
                  <a:pt x="264513" y="0"/>
                </a:lnTo>
                <a:lnTo>
                  <a:pt x="270418" y="30237"/>
                </a:lnTo>
                <a:lnTo>
                  <a:pt x="270418" y="61213"/>
                </a:lnTo>
                <a:lnTo>
                  <a:pt x="252702" y="122427"/>
                </a:lnTo>
                <a:lnTo>
                  <a:pt x="218745" y="174291"/>
                </a:lnTo>
                <a:lnTo>
                  <a:pt x="170025" y="217296"/>
                </a:lnTo>
                <a:lnTo>
                  <a:pt x="123781" y="237585"/>
                </a:lnTo>
                <a:lnTo>
                  <a:pt x="71727" y="248919"/>
                </a:lnTo>
                <a:lnTo>
                  <a:pt x="55979" y="248919"/>
                </a:lnTo>
                <a:lnTo>
                  <a:pt x="55979" y="320039"/>
                </a:lnTo>
                <a:lnTo>
                  <a:pt x="280261" y="320039"/>
                </a:lnTo>
                <a:lnTo>
                  <a:pt x="284198" y="98805"/>
                </a:lnTo>
                <a:lnTo>
                  <a:pt x="382496" y="98805"/>
                </a:lnTo>
                <a:lnTo>
                  <a:pt x="382434" y="74070"/>
                </a:lnTo>
                <a:lnTo>
                  <a:pt x="382004" y="65198"/>
                </a:lnTo>
                <a:lnTo>
                  <a:pt x="380835" y="56302"/>
                </a:lnTo>
                <a:lnTo>
                  <a:pt x="378559" y="47370"/>
                </a:lnTo>
                <a:lnTo>
                  <a:pt x="377205" y="40850"/>
                </a:lnTo>
                <a:lnTo>
                  <a:pt x="346078" y="5429"/>
                </a:lnTo>
                <a:lnTo>
                  <a:pt x="335129" y="1416"/>
                </a:lnTo>
                <a:lnTo>
                  <a:pt x="323441" y="0"/>
                </a:lnTo>
                <a:close/>
              </a:path>
              <a:path w="382904" h="320039">
                <a:moveTo>
                  <a:pt x="382496" y="98805"/>
                </a:moveTo>
                <a:lnTo>
                  <a:pt x="319504" y="98805"/>
                </a:lnTo>
                <a:lnTo>
                  <a:pt x="319504" y="320039"/>
                </a:lnTo>
                <a:lnTo>
                  <a:pt x="382496" y="320039"/>
                </a:lnTo>
                <a:lnTo>
                  <a:pt x="382496" y="98805"/>
                </a:lnTo>
                <a:close/>
              </a:path>
              <a:path w="382904" h="320039">
                <a:moveTo>
                  <a:pt x="221206" y="0"/>
                </a:moveTo>
                <a:lnTo>
                  <a:pt x="63853" y="0"/>
                </a:lnTo>
                <a:lnTo>
                  <a:pt x="49827" y="1416"/>
                </a:lnTo>
                <a:lnTo>
                  <a:pt x="8612" y="28733"/>
                </a:lnTo>
                <a:lnTo>
                  <a:pt x="0" y="48101"/>
                </a:lnTo>
                <a:lnTo>
                  <a:pt x="861" y="59308"/>
                </a:lnTo>
                <a:lnTo>
                  <a:pt x="861" y="221233"/>
                </a:lnTo>
                <a:lnTo>
                  <a:pt x="4798" y="229107"/>
                </a:lnTo>
                <a:lnTo>
                  <a:pt x="8735" y="237108"/>
                </a:lnTo>
                <a:lnTo>
                  <a:pt x="24483" y="244982"/>
                </a:lnTo>
                <a:lnTo>
                  <a:pt x="32726" y="247812"/>
                </a:lnTo>
                <a:lnTo>
                  <a:pt x="40231" y="249904"/>
                </a:lnTo>
                <a:lnTo>
                  <a:pt x="47736" y="250519"/>
                </a:lnTo>
                <a:lnTo>
                  <a:pt x="55979" y="248919"/>
                </a:lnTo>
                <a:lnTo>
                  <a:pt x="71727" y="248919"/>
                </a:lnTo>
                <a:lnTo>
                  <a:pt x="128697" y="154050"/>
                </a:lnTo>
                <a:lnTo>
                  <a:pt x="55979" y="154050"/>
                </a:lnTo>
                <a:lnTo>
                  <a:pt x="55979" y="94868"/>
                </a:lnTo>
                <a:lnTo>
                  <a:pt x="164236" y="94868"/>
                </a:lnTo>
                <a:lnTo>
                  <a:pt x="221206" y="0"/>
                </a:lnTo>
                <a:close/>
              </a:path>
              <a:path w="382904" h="320039">
                <a:moveTo>
                  <a:pt x="164236" y="94868"/>
                </a:moveTo>
                <a:lnTo>
                  <a:pt x="91412" y="94868"/>
                </a:lnTo>
                <a:lnTo>
                  <a:pt x="91412" y="154050"/>
                </a:lnTo>
                <a:lnTo>
                  <a:pt x="128697" y="154050"/>
                </a:lnTo>
                <a:lnTo>
                  <a:pt x="164236" y="9486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31">
            <a:extLst>
              <a:ext uri="{FF2B5EF4-FFF2-40B4-BE49-F238E27FC236}">
                <a16:creationId xmlns:a16="http://schemas.microsoft.com/office/drawing/2014/main" id="{5754CA21-97CB-41E9-8768-E15A8D040C87}"/>
              </a:ext>
            </a:extLst>
          </p:cNvPr>
          <p:cNvSpPr/>
          <p:nvPr/>
        </p:nvSpPr>
        <p:spPr>
          <a:xfrm>
            <a:off x="6272784" y="3233463"/>
            <a:ext cx="161543" cy="181356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32">
            <a:extLst>
              <a:ext uri="{FF2B5EF4-FFF2-40B4-BE49-F238E27FC236}">
                <a16:creationId xmlns:a16="http://schemas.microsoft.com/office/drawing/2014/main" id="{AA5A232D-2166-4DBD-A376-B16E927B74CB}"/>
              </a:ext>
            </a:extLst>
          </p:cNvPr>
          <p:cNvSpPr/>
          <p:nvPr/>
        </p:nvSpPr>
        <p:spPr>
          <a:xfrm>
            <a:off x="6173751" y="3401104"/>
            <a:ext cx="382905" cy="320040"/>
          </a:xfrm>
          <a:custGeom>
            <a:avLst/>
            <a:gdLst/>
            <a:ahLst/>
            <a:cxnLst/>
            <a:rect l="l" t="t" r="r" b="b"/>
            <a:pathLst>
              <a:path w="382904" h="320039">
                <a:moveTo>
                  <a:pt x="323441" y="0"/>
                </a:moveTo>
                <a:lnTo>
                  <a:pt x="264513" y="0"/>
                </a:lnTo>
                <a:lnTo>
                  <a:pt x="270418" y="30237"/>
                </a:lnTo>
                <a:lnTo>
                  <a:pt x="270418" y="61213"/>
                </a:lnTo>
                <a:lnTo>
                  <a:pt x="252702" y="122427"/>
                </a:lnTo>
                <a:lnTo>
                  <a:pt x="218745" y="174291"/>
                </a:lnTo>
                <a:lnTo>
                  <a:pt x="170025" y="217296"/>
                </a:lnTo>
                <a:lnTo>
                  <a:pt x="123781" y="237585"/>
                </a:lnTo>
                <a:lnTo>
                  <a:pt x="71727" y="248919"/>
                </a:lnTo>
                <a:lnTo>
                  <a:pt x="55979" y="248919"/>
                </a:lnTo>
                <a:lnTo>
                  <a:pt x="55979" y="320039"/>
                </a:lnTo>
                <a:lnTo>
                  <a:pt x="280261" y="320039"/>
                </a:lnTo>
                <a:lnTo>
                  <a:pt x="284198" y="98805"/>
                </a:lnTo>
                <a:lnTo>
                  <a:pt x="382496" y="98805"/>
                </a:lnTo>
                <a:lnTo>
                  <a:pt x="382434" y="74070"/>
                </a:lnTo>
                <a:lnTo>
                  <a:pt x="382004" y="65198"/>
                </a:lnTo>
                <a:lnTo>
                  <a:pt x="380835" y="56302"/>
                </a:lnTo>
                <a:lnTo>
                  <a:pt x="378559" y="47370"/>
                </a:lnTo>
                <a:lnTo>
                  <a:pt x="377205" y="40850"/>
                </a:lnTo>
                <a:lnTo>
                  <a:pt x="346078" y="5429"/>
                </a:lnTo>
                <a:lnTo>
                  <a:pt x="335129" y="1416"/>
                </a:lnTo>
                <a:lnTo>
                  <a:pt x="323441" y="0"/>
                </a:lnTo>
                <a:close/>
              </a:path>
              <a:path w="382904" h="320039">
                <a:moveTo>
                  <a:pt x="382496" y="98805"/>
                </a:moveTo>
                <a:lnTo>
                  <a:pt x="319504" y="98805"/>
                </a:lnTo>
                <a:lnTo>
                  <a:pt x="319504" y="320039"/>
                </a:lnTo>
                <a:lnTo>
                  <a:pt x="382496" y="320039"/>
                </a:lnTo>
                <a:lnTo>
                  <a:pt x="382496" y="98805"/>
                </a:lnTo>
                <a:close/>
              </a:path>
              <a:path w="382904" h="320039">
                <a:moveTo>
                  <a:pt x="221206" y="0"/>
                </a:moveTo>
                <a:lnTo>
                  <a:pt x="63853" y="0"/>
                </a:lnTo>
                <a:lnTo>
                  <a:pt x="49827" y="1416"/>
                </a:lnTo>
                <a:lnTo>
                  <a:pt x="8612" y="28733"/>
                </a:lnTo>
                <a:lnTo>
                  <a:pt x="0" y="48101"/>
                </a:lnTo>
                <a:lnTo>
                  <a:pt x="861" y="59308"/>
                </a:lnTo>
                <a:lnTo>
                  <a:pt x="861" y="221233"/>
                </a:lnTo>
                <a:lnTo>
                  <a:pt x="4798" y="229107"/>
                </a:lnTo>
                <a:lnTo>
                  <a:pt x="8735" y="237108"/>
                </a:lnTo>
                <a:lnTo>
                  <a:pt x="24483" y="244982"/>
                </a:lnTo>
                <a:lnTo>
                  <a:pt x="32726" y="247812"/>
                </a:lnTo>
                <a:lnTo>
                  <a:pt x="40231" y="249904"/>
                </a:lnTo>
                <a:lnTo>
                  <a:pt x="47736" y="250519"/>
                </a:lnTo>
                <a:lnTo>
                  <a:pt x="55979" y="248919"/>
                </a:lnTo>
                <a:lnTo>
                  <a:pt x="71727" y="248919"/>
                </a:lnTo>
                <a:lnTo>
                  <a:pt x="128697" y="154050"/>
                </a:lnTo>
                <a:lnTo>
                  <a:pt x="55979" y="154050"/>
                </a:lnTo>
                <a:lnTo>
                  <a:pt x="55979" y="94868"/>
                </a:lnTo>
                <a:lnTo>
                  <a:pt x="164236" y="94868"/>
                </a:lnTo>
                <a:lnTo>
                  <a:pt x="221206" y="0"/>
                </a:lnTo>
                <a:close/>
              </a:path>
              <a:path w="382904" h="320039">
                <a:moveTo>
                  <a:pt x="164236" y="94868"/>
                </a:moveTo>
                <a:lnTo>
                  <a:pt x="91412" y="94868"/>
                </a:lnTo>
                <a:lnTo>
                  <a:pt x="91412" y="154050"/>
                </a:lnTo>
                <a:lnTo>
                  <a:pt x="128697" y="154050"/>
                </a:lnTo>
                <a:lnTo>
                  <a:pt x="164236" y="9486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33">
            <a:extLst>
              <a:ext uri="{FF2B5EF4-FFF2-40B4-BE49-F238E27FC236}">
                <a16:creationId xmlns:a16="http://schemas.microsoft.com/office/drawing/2014/main" id="{DD0AF16B-A02A-42BA-9653-85C892632222}"/>
              </a:ext>
            </a:extLst>
          </p:cNvPr>
          <p:cNvSpPr/>
          <p:nvPr/>
        </p:nvSpPr>
        <p:spPr>
          <a:xfrm>
            <a:off x="6760464" y="3233463"/>
            <a:ext cx="161543" cy="181356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34">
            <a:extLst>
              <a:ext uri="{FF2B5EF4-FFF2-40B4-BE49-F238E27FC236}">
                <a16:creationId xmlns:a16="http://schemas.microsoft.com/office/drawing/2014/main" id="{1D2C2C36-6F57-41FB-B389-6827FD9FD835}"/>
              </a:ext>
            </a:extLst>
          </p:cNvPr>
          <p:cNvSpPr/>
          <p:nvPr/>
        </p:nvSpPr>
        <p:spPr>
          <a:xfrm>
            <a:off x="6661432" y="3401104"/>
            <a:ext cx="382905" cy="320040"/>
          </a:xfrm>
          <a:custGeom>
            <a:avLst/>
            <a:gdLst/>
            <a:ahLst/>
            <a:cxnLst/>
            <a:rect l="l" t="t" r="r" b="b"/>
            <a:pathLst>
              <a:path w="382904" h="320039">
                <a:moveTo>
                  <a:pt x="323441" y="0"/>
                </a:moveTo>
                <a:lnTo>
                  <a:pt x="264513" y="0"/>
                </a:lnTo>
                <a:lnTo>
                  <a:pt x="270418" y="30237"/>
                </a:lnTo>
                <a:lnTo>
                  <a:pt x="270418" y="61213"/>
                </a:lnTo>
                <a:lnTo>
                  <a:pt x="252702" y="122427"/>
                </a:lnTo>
                <a:lnTo>
                  <a:pt x="218745" y="174291"/>
                </a:lnTo>
                <a:lnTo>
                  <a:pt x="170025" y="217296"/>
                </a:lnTo>
                <a:lnTo>
                  <a:pt x="123781" y="237585"/>
                </a:lnTo>
                <a:lnTo>
                  <a:pt x="71727" y="248919"/>
                </a:lnTo>
                <a:lnTo>
                  <a:pt x="55979" y="248919"/>
                </a:lnTo>
                <a:lnTo>
                  <a:pt x="55979" y="320039"/>
                </a:lnTo>
                <a:lnTo>
                  <a:pt x="280261" y="320039"/>
                </a:lnTo>
                <a:lnTo>
                  <a:pt x="284198" y="98805"/>
                </a:lnTo>
                <a:lnTo>
                  <a:pt x="382496" y="98805"/>
                </a:lnTo>
                <a:lnTo>
                  <a:pt x="382434" y="74070"/>
                </a:lnTo>
                <a:lnTo>
                  <a:pt x="382004" y="65198"/>
                </a:lnTo>
                <a:lnTo>
                  <a:pt x="380835" y="56302"/>
                </a:lnTo>
                <a:lnTo>
                  <a:pt x="378559" y="47370"/>
                </a:lnTo>
                <a:lnTo>
                  <a:pt x="377205" y="40850"/>
                </a:lnTo>
                <a:lnTo>
                  <a:pt x="346078" y="5429"/>
                </a:lnTo>
                <a:lnTo>
                  <a:pt x="335129" y="1416"/>
                </a:lnTo>
                <a:lnTo>
                  <a:pt x="323441" y="0"/>
                </a:lnTo>
                <a:close/>
              </a:path>
              <a:path w="382904" h="320039">
                <a:moveTo>
                  <a:pt x="382496" y="98805"/>
                </a:moveTo>
                <a:lnTo>
                  <a:pt x="319504" y="98805"/>
                </a:lnTo>
                <a:lnTo>
                  <a:pt x="319504" y="320039"/>
                </a:lnTo>
                <a:lnTo>
                  <a:pt x="382496" y="320039"/>
                </a:lnTo>
                <a:lnTo>
                  <a:pt x="382496" y="98805"/>
                </a:lnTo>
                <a:close/>
              </a:path>
              <a:path w="382904" h="320039">
                <a:moveTo>
                  <a:pt x="221206" y="0"/>
                </a:moveTo>
                <a:lnTo>
                  <a:pt x="63853" y="0"/>
                </a:lnTo>
                <a:lnTo>
                  <a:pt x="49827" y="1416"/>
                </a:lnTo>
                <a:lnTo>
                  <a:pt x="8612" y="28733"/>
                </a:lnTo>
                <a:lnTo>
                  <a:pt x="0" y="48101"/>
                </a:lnTo>
                <a:lnTo>
                  <a:pt x="861" y="59308"/>
                </a:lnTo>
                <a:lnTo>
                  <a:pt x="861" y="221233"/>
                </a:lnTo>
                <a:lnTo>
                  <a:pt x="4798" y="229107"/>
                </a:lnTo>
                <a:lnTo>
                  <a:pt x="8735" y="237108"/>
                </a:lnTo>
                <a:lnTo>
                  <a:pt x="24483" y="244982"/>
                </a:lnTo>
                <a:lnTo>
                  <a:pt x="32726" y="247812"/>
                </a:lnTo>
                <a:lnTo>
                  <a:pt x="40231" y="249904"/>
                </a:lnTo>
                <a:lnTo>
                  <a:pt x="47736" y="250519"/>
                </a:lnTo>
                <a:lnTo>
                  <a:pt x="55979" y="248919"/>
                </a:lnTo>
                <a:lnTo>
                  <a:pt x="71727" y="248919"/>
                </a:lnTo>
                <a:lnTo>
                  <a:pt x="128697" y="154050"/>
                </a:lnTo>
                <a:lnTo>
                  <a:pt x="55979" y="154050"/>
                </a:lnTo>
                <a:lnTo>
                  <a:pt x="55979" y="94868"/>
                </a:lnTo>
                <a:lnTo>
                  <a:pt x="164236" y="94868"/>
                </a:lnTo>
                <a:lnTo>
                  <a:pt x="221206" y="0"/>
                </a:lnTo>
                <a:close/>
              </a:path>
              <a:path w="382904" h="320039">
                <a:moveTo>
                  <a:pt x="164236" y="94868"/>
                </a:moveTo>
                <a:lnTo>
                  <a:pt x="91412" y="94868"/>
                </a:lnTo>
                <a:lnTo>
                  <a:pt x="91412" y="154050"/>
                </a:lnTo>
                <a:lnTo>
                  <a:pt x="128697" y="154050"/>
                </a:lnTo>
                <a:lnTo>
                  <a:pt x="164236" y="9486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38">
            <a:extLst>
              <a:ext uri="{FF2B5EF4-FFF2-40B4-BE49-F238E27FC236}">
                <a16:creationId xmlns:a16="http://schemas.microsoft.com/office/drawing/2014/main" id="{7323A6AE-56C4-493C-AA1C-70765FA65E46}"/>
              </a:ext>
            </a:extLst>
          </p:cNvPr>
          <p:cNvSpPr/>
          <p:nvPr/>
        </p:nvSpPr>
        <p:spPr>
          <a:xfrm>
            <a:off x="3455891" y="2619199"/>
            <a:ext cx="443865" cy="210820"/>
          </a:xfrm>
          <a:custGeom>
            <a:avLst/>
            <a:gdLst/>
            <a:ahLst/>
            <a:cxnLst/>
            <a:rect l="l" t="t" r="r" b="b"/>
            <a:pathLst>
              <a:path w="443864" h="210820">
                <a:moveTo>
                  <a:pt x="182626" y="0"/>
                </a:moveTo>
                <a:lnTo>
                  <a:pt x="171450" y="0"/>
                </a:lnTo>
                <a:lnTo>
                  <a:pt x="163956" y="3810"/>
                </a:lnTo>
                <a:lnTo>
                  <a:pt x="141605" y="26289"/>
                </a:lnTo>
                <a:lnTo>
                  <a:pt x="37211" y="67564"/>
                </a:lnTo>
                <a:lnTo>
                  <a:pt x="17770" y="93047"/>
                </a:lnTo>
                <a:lnTo>
                  <a:pt x="7413" y="138938"/>
                </a:lnTo>
                <a:lnTo>
                  <a:pt x="0" y="210312"/>
                </a:lnTo>
                <a:lnTo>
                  <a:pt x="443483" y="210312"/>
                </a:lnTo>
                <a:lnTo>
                  <a:pt x="436070" y="138938"/>
                </a:lnTo>
                <a:lnTo>
                  <a:pt x="425713" y="93047"/>
                </a:lnTo>
                <a:lnTo>
                  <a:pt x="406273" y="67564"/>
                </a:lnTo>
                <a:lnTo>
                  <a:pt x="330466" y="37592"/>
                </a:lnTo>
                <a:lnTo>
                  <a:pt x="219837" y="37592"/>
                </a:lnTo>
                <a:lnTo>
                  <a:pt x="186308" y="3810"/>
                </a:lnTo>
                <a:lnTo>
                  <a:pt x="182626" y="0"/>
                </a:lnTo>
                <a:close/>
              </a:path>
              <a:path w="443864" h="210820">
                <a:moveTo>
                  <a:pt x="272033" y="0"/>
                </a:moveTo>
                <a:lnTo>
                  <a:pt x="260857" y="0"/>
                </a:lnTo>
                <a:lnTo>
                  <a:pt x="257175" y="3810"/>
                </a:lnTo>
                <a:lnTo>
                  <a:pt x="219837" y="37592"/>
                </a:lnTo>
                <a:lnTo>
                  <a:pt x="330466" y="37592"/>
                </a:lnTo>
                <a:lnTo>
                  <a:pt x="301879" y="26289"/>
                </a:lnTo>
                <a:lnTo>
                  <a:pt x="279527" y="3810"/>
                </a:lnTo>
                <a:lnTo>
                  <a:pt x="272033" y="0"/>
                </a:lnTo>
                <a:close/>
              </a:path>
            </a:pathLst>
          </a:custGeom>
          <a:solidFill>
            <a:srgbClr val="5B9BD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39">
            <a:extLst>
              <a:ext uri="{FF2B5EF4-FFF2-40B4-BE49-F238E27FC236}">
                <a16:creationId xmlns:a16="http://schemas.microsoft.com/office/drawing/2014/main" id="{152C3AE5-F3B8-4825-A815-921BCFE14D15}"/>
              </a:ext>
            </a:extLst>
          </p:cNvPr>
          <p:cNvSpPr/>
          <p:nvPr/>
        </p:nvSpPr>
        <p:spPr>
          <a:xfrm>
            <a:off x="3533616" y="2312876"/>
            <a:ext cx="287020" cy="302260"/>
          </a:xfrm>
          <a:custGeom>
            <a:avLst/>
            <a:gdLst/>
            <a:ahLst/>
            <a:cxnLst/>
            <a:rect l="l" t="t" r="r" b="b"/>
            <a:pathLst>
              <a:path w="287020" h="302260">
                <a:moveTo>
                  <a:pt x="241807" y="199897"/>
                </a:moveTo>
                <a:lnTo>
                  <a:pt x="44703" y="199897"/>
                </a:lnTo>
                <a:lnTo>
                  <a:pt x="58197" y="242869"/>
                </a:lnTo>
                <a:lnTo>
                  <a:pt x="80454" y="274875"/>
                </a:lnTo>
                <a:lnTo>
                  <a:pt x="108997" y="294856"/>
                </a:lnTo>
                <a:lnTo>
                  <a:pt x="141350" y="301751"/>
                </a:lnTo>
                <a:lnTo>
                  <a:pt x="173626" y="297570"/>
                </a:lnTo>
                <a:lnTo>
                  <a:pt x="198580" y="285257"/>
                </a:lnTo>
                <a:lnTo>
                  <a:pt x="214774" y="267842"/>
                </a:lnTo>
                <a:lnTo>
                  <a:pt x="141350" y="267842"/>
                </a:lnTo>
                <a:lnTo>
                  <a:pt x="133984" y="260222"/>
                </a:lnTo>
                <a:lnTo>
                  <a:pt x="133984" y="245109"/>
                </a:lnTo>
                <a:lnTo>
                  <a:pt x="141350" y="241426"/>
                </a:lnTo>
                <a:lnTo>
                  <a:pt x="187534" y="241426"/>
                </a:lnTo>
                <a:lnTo>
                  <a:pt x="199999" y="238617"/>
                </a:lnTo>
                <a:lnTo>
                  <a:pt x="220456" y="226790"/>
                </a:lnTo>
                <a:lnTo>
                  <a:pt x="233935" y="212820"/>
                </a:lnTo>
                <a:lnTo>
                  <a:pt x="241807" y="199897"/>
                </a:lnTo>
                <a:close/>
              </a:path>
              <a:path w="287020" h="302260">
                <a:moveTo>
                  <a:pt x="230758" y="237616"/>
                </a:moveTo>
                <a:lnTo>
                  <a:pt x="220398" y="245917"/>
                </a:lnTo>
                <a:lnTo>
                  <a:pt x="206549" y="253158"/>
                </a:lnTo>
                <a:lnTo>
                  <a:pt x="189914" y="258280"/>
                </a:lnTo>
                <a:lnTo>
                  <a:pt x="171195" y="260222"/>
                </a:lnTo>
                <a:lnTo>
                  <a:pt x="171195" y="264032"/>
                </a:lnTo>
                <a:lnTo>
                  <a:pt x="163702" y="267842"/>
                </a:lnTo>
                <a:lnTo>
                  <a:pt x="214774" y="267842"/>
                </a:lnTo>
                <a:lnTo>
                  <a:pt x="217271" y="265158"/>
                </a:lnTo>
                <a:lnTo>
                  <a:pt x="230758" y="237616"/>
                </a:lnTo>
                <a:close/>
              </a:path>
              <a:path w="287020" h="302260">
                <a:moveTo>
                  <a:pt x="187534" y="241426"/>
                </a:moveTo>
                <a:lnTo>
                  <a:pt x="167386" y="241426"/>
                </a:lnTo>
                <a:lnTo>
                  <a:pt x="171195" y="245109"/>
                </a:lnTo>
                <a:lnTo>
                  <a:pt x="187534" y="241426"/>
                </a:lnTo>
                <a:close/>
              </a:path>
              <a:path w="287020" h="302260">
                <a:moveTo>
                  <a:pt x="141350" y="0"/>
                </a:moveTo>
                <a:lnTo>
                  <a:pt x="93811" y="8602"/>
                </a:lnTo>
                <a:lnTo>
                  <a:pt x="53927" y="32051"/>
                </a:lnTo>
                <a:lnTo>
                  <a:pt x="25211" y="66811"/>
                </a:lnTo>
                <a:lnTo>
                  <a:pt x="11175" y="109346"/>
                </a:lnTo>
                <a:lnTo>
                  <a:pt x="3682" y="113156"/>
                </a:lnTo>
                <a:lnTo>
                  <a:pt x="0" y="120650"/>
                </a:lnTo>
                <a:lnTo>
                  <a:pt x="0" y="177291"/>
                </a:lnTo>
                <a:lnTo>
                  <a:pt x="1920" y="185592"/>
                </a:lnTo>
                <a:lnTo>
                  <a:pt x="6985" y="192833"/>
                </a:lnTo>
                <a:lnTo>
                  <a:pt x="14144" y="197955"/>
                </a:lnTo>
                <a:lnTo>
                  <a:pt x="22351" y="199897"/>
                </a:lnTo>
                <a:lnTo>
                  <a:pt x="264159" y="199897"/>
                </a:lnTo>
                <a:lnTo>
                  <a:pt x="272367" y="197955"/>
                </a:lnTo>
                <a:lnTo>
                  <a:pt x="279526" y="192833"/>
                </a:lnTo>
                <a:lnTo>
                  <a:pt x="284591" y="185592"/>
                </a:lnTo>
                <a:lnTo>
                  <a:pt x="286512" y="177291"/>
                </a:lnTo>
                <a:lnTo>
                  <a:pt x="286512" y="120650"/>
                </a:lnTo>
                <a:lnTo>
                  <a:pt x="279018" y="113156"/>
                </a:lnTo>
                <a:lnTo>
                  <a:pt x="44703" y="113156"/>
                </a:lnTo>
                <a:lnTo>
                  <a:pt x="37211" y="105663"/>
                </a:lnTo>
                <a:lnTo>
                  <a:pt x="49321" y="74154"/>
                </a:lnTo>
                <a:lnTo>
                  <a:pt x="72564" y="49037"/>
                </a:lnTo>
                <a:lnTo>
                  <a:pt x="104165" y="32422"/>
                </a:lnTo>
                <a:lnTo>
                  <a:pt x="141350" y="26415"/>
                </a:lnTo>
                <a:lnTo>
                  <a:pt x="222251" y="26415"/>
                </a:lnTo>
                <a:lnTo>
                  <a:pt x="191093" y="8602"/>
                </a:lnTo>
                <a:lnTo>
                  <a:pt x="141350" y="0"/>
                </a:lnTo>
                <a:close/>
              </a:path>
              <a:path w="287020" h="302260">
                <a:moveTo>
                  <a:pt x="141350" y="45212"/>
                </a:moveTo>
                <a:lnTo>
                  <a:pt x="107390" y="49988"/>
                </a:lnTo>
                <a:lnTo>
                  <a:pt x="79025" y="63611"/>
                </a:lnTo>
                <a:lnTo>
                  <a:pt x="57661" y="85020"/>
                </a:lnTo>
                <a:lnTo>
                  <a:pt x="44703" y="113156"/>
                </a:lnTo>
                <a:lnTo>
                  <a:pt x="241807" y="113156"/>
                </a:lnTo>
                <a:lnTo>
                  <a:pt x="228790" y="85020"/>
                </a:lnTo>
                <a:lnTo>
                  <a:pt x="207010" y="63611"/>
                </a:lnTo>
                <a:lnTo>
                  <a:pt x="177514" y="49988"/>
                </a:lnTo>
                <a:lnTo>
                  <a:pt x="141350" y="45212"/>
                </a:lnTo>
                <a:close/>
              </a:path>
              <a:path w="287020" h="302260">
                <a:moveTo>
                  <a:pt x="222251" y="26415"/>
                </a:moveTo>
                <a:lnTo>
                  <a:pt x="141350" y="26415"/>
                </a:lnTo>
                <a:lnTo>
                  <a:pt x="180738" y="32422"/>
                </a:lnTo>
                <a:lnTo>
                  <a:pt x="213471" y="49037"/>
                </a:lnTo>
                <a:lnTo>
                  <a:pt x="237130" y="74154"/>
                </a:lnTo>
                <a:lnTo>
                  <a:pt x="249300" y="105663"/>
                </a:lnTo>
                <a:lnTo>
                  <a:pt x="241807" y="113156"/>
                </a:lnTo>
                <a:lnTo>
                  <a:pt x="279018" y="113156"/>
                </a:lnTo>
                <a:lnTo>
                  <a:pt x="275336" y="109346"/>
                </a:lnTo>
                <a:lnTo>
                  <a:pt x="261240" y="66811"/>
                </a:lnTo>
                <a:lnTo>
                  <a:pt x="232108" y="32051"/>
                </a:lnTo>
                <a:lnTo>
                  <a:pt x="222251" y="26415"/>
                </a:lnTo>
                <a:close/>
              </a:path>
            </a:pathLst>
          </a:custGeom>
          <a:solidFill>
            <a:srgbClr val="5B9BD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40">
            <a:extLst>
              <a:ext uri="{FF2B5EF4-FFF2-40B4-BE49-F238E27FC236}">
                <a16:creationId xmlns:a16="http://schemas.microsoft.com/office/drawing/2014/main" id="{3D656ADC-045B-43B6-8019-5A4BD2DD87D9}"/>
              </a:ext>
            </a:extLst>
          </p:cNvPr>
          <p:cNvSpPr/>
          <p:nvPr/>
        </p:nvSpPr>
        <p:spPr>
          <a:xfrm>
            <a:off x="4658360" y="1088740"/>
            <a:ext cx="523240" cy="356870"/>
          </a:xfrm>
          <a:custGeom>
            <a:avLst/>
            <a:gdLst/>
            <a:ahLst/>
            <a:cxnLst/>
            <a:rect l="l" t="t" r="r" b="b"/>
            <a:pathLst>
              <a:path w="523239" h="356869">
                <a:moveTo>
                  <a:pt x="469519" y="0"/>
                </a:moveTo>
                <a:lnTo>
                  <a:pt x="51562" y="0"/>
                </a:lnTo>
                <a:lnTo>
                  <a:pt x="31611" y="3738"/>
                </a:lnTo>
                <a:lnTo>
                  <a:pt x="15208" y="13906"/>
                </a:lnTo>
                <a:lnTo>
                  <a:pt x="4091" y="28932"/>
                </a:lnTo>
                <a:lnTo>
                  <a:pt x="0" y="47244"/>
                </a:lnTo>
                <a:lnTo>
                  <a:pt x="0" y="307848"/>
                </a:lnTo>
                <a:lnTo>
                  <a:pt x="4091" y="327040"/>
                </a:lnTo>
                <a:lnTo>
                  <a:pt x="15208" y="342519"/>
                </a:lnTo>
                <a:lnTo>
                  <a:pt x="31611" y="352853"/>
                </a:lnTo>
                <a:lnTo>
                  <a:pt x="51562" y="356615"/>
                </a:lnTo>
                <a:lnTo>
                  <a:pt x="469519" y="356615"/>
                </a:lnTo>
                <a:lnTo>
                  <a:pt x="489727" y="352853"/>
                </a:lnTo>
                <a:lnTo>
                  <a:pt x="506698" y="342519"/>
                </a:lnTo>
                <a:lnTo>
                  <a:pt x="518382" y="327040"/>
                </a:lnTo>
                <a:lnTo>
                  <a:pt x="521695" y="312420"/>
                </a:lnTo>
                <a:lnTo>
                  <a:pt x="51562" y="312420"/>
                </a:lnTo>
                <a:lnTo>
                  <a:pt x="51562" y="47244"/>
                </a:lnTo>
                <a:lnTo>
                  <a:pt x="522732" y="47244"/>
                </a:lnTo>
                <a:lnTo>
                  <a:pt x="518382" y="28932"/>
                </a:lnTo>
                <a:lnTo>
                  <a:pt x="506698" y="13906"/>
                </a:lnTo>
                <a:lnTo>
                  <a:pt x="489727" y="3738"/>
                </a:lnTo>
                <a:lnTo>
                  <a:pt x="469519" y="0"/>
                </a:lnTo>
                <a:close/>
              </a:path>
              <a:path w="523239" h="356869">
                <a:moveTo>
                  <a:pt x="522732" y="47244"/>
                </a:moveTo>
                <a:lnTo>
                  <a:pt x="472821" y="47244"/>
                </a:lnTo>
                <a:lnTo>
                  <a:pt x="472821" y="312420"/>
                </a:lnTo>
                <a:lnTo>
                  <a:pt x="521695" y="312420"/>
                </a:lnTo>
                <a:lnTo>
                  <a:pt x="522732" y="307848"/>
                </a:lnTo>
                <a:lnTo>
                  <a:pt x="522732" y="190500"/>
                </a:lnTo>
                <a:lnTo>
                  <a:pt x="489458" y="190500"/>
                </a:lnTo>
                <a:lnTo>
                  <a:pt x="482726" y="185927"/>
                </a:lnTo>
                <a:lnTo>
                  <a:pt x="482726" y="173736"/>
                </a:lnTo>
                <a:lnTo>
                  <a:pt x="489458" y="169163"/>
                </a:lnTo>
                <a:lnTo>
                  <a:pt x="522732" y="169163"/>
                </a:lnTo>
                <a:lnTo>
                  <a:pt x="522732" y="47244"/>
                </a:lnTo>
                <a:close/>
              </a:path>
              <a:path w="523239" h="356869">
                <a:moveTo>
                  <a:pt x="522732" y="169163"/>
                </a:moveTo>
                <a:lnTo>
                  <a:pt x="501142" y="169163"/>
                </a:lnTo>
                <a:lnTo>
                  <a:pt x="506095" y="173736"/>
                </a:lnTo>
                <a:lnTo>
                  <a:pt x="506095" y="185927"/>
                </a:lnTo>
                <a:lnTo>
                  <a:pt x="501142" y="190500"/>
                </a:lnTo>
                <a:lnTo>
                  <a:pt x="522732" y="190500"/>
                </a:lnTo>
                <a:lnTo>
                  <a:pt x="522732" y="169163"/>
                </a:lnTo>
                <a:close/>
              </a:path>
            </a:pathLst>
          </a:custGeom>
          <a:solidFill>
            <a:srgbClr val="EC7C3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41">
            <a:extLst>
              <a:ext uri="{FF2B5EF4-FFF2-40B4-BE49-F238E27FC236}">
                <a16:creationId xmlns:a16="http://schemas.microsoft.com/office/drawing/2014/main" id="{E89437EB-52FA-4974-A2BF-619A75812F00}"/>
              </a:ext>
            </a:extLst>
          </p:cNvPr>
          <p:cNvSpPr/>
          <p:nvPr/>
        </p:nvSpPr>
        <p:spPr>
          <a:xfrm>
            <a:off x="4925060" y="1231995"/>
            <a:ext cx="182880" cy="330835"/>
          </a:xfrm>
          <a:custGeom>
            <a:avLst/>
            <a:gdLst/>
            <a:ahLst/>
            <a:cxnLst/>
            <a:rect l="l" t="t" r="r" b="b"/>
            <a:pathLst>
              <a:path w="182879" h="330835">
                <a:moveTo>
                  <a:pt x="26543" y="108712"/>
                </a:moveTo>
                <a:lnTo>
                  <a:pt x="8255" y="108712"/>
                </a:lnTo>
                <a:lnTo>
                  <a:pt x="0" y="116332"/>
                </a:lnTo>
                <a:lnTo>
                  <a:pt x="0" y="231140"/>
                </a:lnTo>
                <a:lnTo>
                  <a:pt x="66548" y="286258"/>
                </a:lnTo>
                <a:lnTo>
                  <a:pt x="66548" y="330708"/>
                </a:lnTo>
                <a:lnTo>
                  <a:pt x="182880" y="330708"/>
                </a:lnTo>
                <a:lnTo>
                  <a:pt x="182880" y="192913"/>
                </a:lnTo>
                <a:lnTo>
                  <a:pt x="33274" y="192913"/>
                </a:lnTo>
                <a:lnTo>
                  <a:pt x="33274" y="116332"/>
                </a:lnTo>
                <a:lnTo>
                  <a:pt x="26543" y="108712"/>
                </a:lnTo>
                <a:close/>
              </a:path>
              <a:path w="182879" h="330835">
                <a:moveTo>
                  <a:pt x="61468" y="0"/>
                </a:moveTo>
                <a:lnTo>
                  <a:pt x="49911" y="0"/>
                </a:lnTo>
                <a:lnTo>
                  <a:pt x="44831" y="4572"/>
                </a:lnTo>
                <a:lnTo>
                  <a:pt x="44831" y="192913"/>
                </a:lnTo>
                <a:lnTo>
                  <a:pt x="182880" y="192913"/>
                </a:lnTo>
                <a:lnTo>
                  <a:pt x="182880" y="146939"/>
                </a:lnTo>
                <a:lnTo>
                  <a:pt x="66548" y="146939"/>
                </a:lnTo>
                <a:lnTo>
                  <a:pt x="66548" y="4572"/>
                </a:lnTo>
                <a:lnTo>
                  <a:pt x="61468" y="0"/>
                </a:lnTo>
                <a:close/>
              </a:path>
              <a:path w="182879" h="330835">
                <a:moveTo>
                  <a:pt x="99695" y="65786"/>
                </a:moveTo>
                <a:lnTo>
                  <a:pt x="88137" y="65786"/>
                </a:lnTo>
                <a:lnTo>
                  <a:pt x="83185" y="70485"/>
                </a:lnTo>
                <a:lnTo>
                  <a:pt x="83185" y="146939"/>
                </a:lnTo>
                <a:lnTo>
                  <a:pt x="104775" y="146939"/>
                </a:lnTo>
                <a:lnTo>
                  <a:pt x="104775" y="70485"/>
                </a:lnTo>
                <a:lnTo>
                  <a:pt x="99695" y="65786"/>
                </a:lnTo>
                <a:close/>
              </a:path>
              <a:path w="182879" h="330835">
                <a:moveTo>
                  <a:pt x="139700" y="84201"/>
                </a:moveTo>
                <a:lnTo>
                  <a:pt x="128016" y="84201"/>
                </a:lnTo>
                <a:lnTo>
                  <a:pt x="123062" y="88773"/>
                </a:lnTo>
                <a:lnTo>
                  <a:pt x="123062" y="146939"/>
                </a:lnTo>
                <a:lnTo>
                  <a:pt x="144652" y="146939"/>
                </a:lnTo>
                <a:lnTo>
                  <a:pt x="144652" y="88773"/>
                </a:lnTo>
                <a:lnTo>
                  <a:pt x="139700" y="84201"/>
                </a:lnTo>
                <a:close/>
              </a:path>
              <a:path w="182879" h="330835">
                <a:moveTo>
                  <a:pt x="177926" y="104140"/>
                </a:moveTo>
                <a:lnTo>
                  <a:pt x="166243" y="104140"/>
                </a:lnTo>
                <a:lnTo>
                  <a:pt x="161289" y="108712"/>
                </a:lnTo>
                <a:lnTo>
                  <a:pt x="161289" y="146939"/>
                </a:lnTo>
                <a:lnTo>
                  <a:pt x="182880" y="146939"/>
                </a:lnTo>
                <a:lnTo>
                  <a:pt x="182880" y="108712"/>
                </a:lnTo>
                <a:lnTo>
                  <a:pt x="177926" y="104140"/>
                </a:lnTo>
                <a:close/>
              </a:path>
            </a:pathLst>
          </a:custGeom>
          <a:solidFill>
            <a:srgbClr val="EC7C3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42">
            <a:extLst>
              <a:ext uri="{FF2B5EF4-FFF2-40B4-BE49-F238E27FC236}">
                <a16:creationId xmlns:a16="http://schemas.microsoft.com/office/drawing/2014/main" id="{FCBD52FF-CD19-4392-8695-DDCFC42AF13F}"/>
              </a:ext>
            </a:extLst>
          </p:cNvPr>
          <p:cNvSpPr/>
          <p:nvPr/>
        </p:nvSpPr>
        <p:spPr>
          <a:xfrm>
            <a:off x="4737608" y="1163416"/>
            <a:ext cx="178308" cy="19202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43">
            <a:extLst>
              <a:ext uri="{FF2B5EF4-FFF2-40B4-BE49-F238E27FC236}">
                <a16:creationId xmlns:a16="http://schemas.microsoft.com/office/drawing/2014/main" id="{A09CFD67-B308-43BB-835B-F46CACAFF460}"/>
              </a:ext>
            </a:extLst>
          </p:cNvPr>
          <p:cNvSpPr/>
          <p:nvPr/>
        </p:nvSpPr>
        <p:spPr>
          <a:xfrm>
            <a:off x="8345610" y="2456892"/>
            <a:ext cx="82296" cy="9753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srgbClr val="92D050"/>
              </a:solidFill>
            </a:endParaRPr>
          </a:p>
        </p:txBody>
      </p:sp>
      <p:sp>
        <p:nvSpPr>
          <p:cNvPr id="56" name="object 44">
            <a:extLst>
              <a:ext uri="{FF2B5EF4-FFF2-40B4-BE49-F238E27FC236}">
                <a16:creationId xmlns:a16="http://schemas.microsoft.com/office/drawing/2014/main" id="{8A758697-2030-415E-B111-D767D632012D}"/>
              </a:ext>
            </a:extLst>
          </p:cNvPr>
          <p:cNvSpPr/>
          <p:nvPr/>
        </p:nvSpPr>
        <p:spPr>
          <a:xfrm>
            <a:off x="8502582" y="2513279"/>
            <a:ext cx="70103" cy="8229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srgbClr val="92D050"/>
              </a:solidFill>
            </a:endParaRPr>
          </a:p>
        </p:txBody>
      </p:sp>
      <p:sp>
        <p:nvSpPr>
          <p:cNvPr id="57" name="object 45">
            <a:extLst>
              <a:ext uri="{FF2B5EF4-FFF2-40B4-BE49-F238E27FC236}">
                <a16:creationId xmlns:a16="http://schemas.microsoft.com/office/drawing/2014/main" id="{2E84CB14-C3D2-4096-8C06-AE888D8CD301}"/>
              </a:ext>
            </a:extLst>
          </p:cNvPr>
          <p:cNvSpPr/>
          <p:nvPr/>
        </p:nvSpPr>
        <p:spPr>
          <a:xfrm>
            <a:off x="8184232" y="2546173"/>
            <a:ext cx="534035" cy="351155"/>
          </a:xfrm>
          <a:custGeom>
            <a:avLst/>
            <a:gdLst/>
            <a:ahLst/>
            <a:cxnLst/>
            <a:rect l="l" t="t" r="r" b="b"/>
            <a:pathLst>
              <a:path w="534034" h="351155">
                <a:moveTo>
                  <a:pt x="157567" y="0"/>
                </a:moveTo>
                <a:lnTo>
                  <a:pt x="105509" y="1595"/>
                </a:lnTo>
                <a:lnTo>
                  <a:pt x="60571" y="15430"/>
                </a:lnTo>
                <a:lnTo>
                  <a:pt x="26158" y="39933"/>
                </a:lnTo>
                <a:lnTo>
                  <a:pt x="5675" y="73532"/>
                </a:lnTo>
                <a:lnTo>
                  <a:pt x="0" y="111059"/>
                </a:lnTo>
                <a:lnTo>
                  <a:pt x="9802" y="150479"/>
                </a:lnTo>
                <a:lnTo>
                  <a:pt x="38179" y="194923"/>
                </a:lnTo>
                <a:lnTo>
                  <a:pt x="88225" y="247522"/>
                </a:lnTo>
                <a:lnTo>
                  <a:pt x="133123" y="279585"/>
                </a:lnTo>
                <a:lnTo>
                  <a:pt x="185450" y="305604"/>
                </a:lnTo>
                <a:lnTo>
                  <a:pt x="240530" y="325675"/>
                </a:lnTo>
                <a:lnTo>
                  <a:pt x="293683" y="339894"/>
                </a:lnTo>
                <a:lnTo>
                  <a:pt x="340232" y="348355"/>
                </a:lnTo>
                <a:lnTo>
                  <a:pt x="375499" y="351154"/>
                </a:lnTo>
                <a:lnTo>
                  <a:pt x="414489" y="349732"/>
                </a:lnTo>
                <a:lnTo>
                  <a:pt x="458392" y="343006"/>
                </a:lnTo>
                <a:lnTo>
                  <a:pt x="498650" y="327289"/>
                </a:lnTo>
                <a:lnTo>
                  <a:pt x="501546" y="324357"/>
                </a:lnTo>
                <a:lnTo>
                  <a:pt x="398613" y="324357"/>
                </a:lnTo>
                <a:lnTo>
                  <a:pt x="398804" y="321055"/>
                </a:lnTo>
                <a:lnTo>
                  <a:pt x="349083" y="321055"/>
                </a:lnTo>
                <a:lnTo>
                  <a:pt x="349083" y="317753"/>
                </a:lnTo>
                <a:lnTo>
                  <a:pt x="329271" y="317753"/>
                </a:lnTo>
                <a:lnTo>
                  <a:pt x="319365" y="314325"/>
                </a:lnTo>
                <a:lnTo>
                  <a:pt x="309459" y="314325"/>
                </a:lnTo>
                <a:lnTo>
                  <a:pt x="295528" y="309350"/>
                </a:lnTo>
                <a:lnTo>
                  <a:pt x="263953" y="299305"/>
                </a:lnTo>
                <a:lnTo>
                  <a:pt x="250023" y="294258"/>
                </a:lnTo>
                <a:lnTo>
                  <a:pt x="243419" y="294258"/>
                </a:lnTo>
                <a:lnTo>
                  <a:pt x="236815" y="290956"/>
                </a:lnTo>
                <a:lnTo>
                  <a:pt x="233513" y="287654"/>
                </a:lnTo>
                <a:lnTo>
                  <a:pt x="230211" y="287654"/>
                </a:lnTo>
                <a:lnTo>
                  <a:pt x="231128" y="277621"/>
                </a:lnTo>
                <a:lnTo>
                  <a:pt x="210399" y="277621"/>
                </a:lnTo>
                <a:lnTo>
                  <a:pt x="197191" y="270890"/>
                </a:lnTo>
                <a:lnTo>
                  <a:pt x="197191" y="240791"/>
                </a:lnTo>
                <a:lnTo>
                  <a:pt x="141057" y="240791"/>
                </a:lnTo>
                <a:lnTo>
                  <a:pt x="127849" y="230758"/>
                </a:lnTo>
                <a:lnTo>
                  <a:pt x="128440" y="207390"/>
                </a:lnTo>
                <a:lnTo>
                  <a:pt x="101433" y="207390"/>
                </a:lnTo>
                <a:lnTo>
                  <a:pt x="61706" y="168983"/>
                </a:lnTo>
                <a:lnTo>
                  <a:pt x="38695" y="133397"/>
                </a:lnTo>
                <a:lnTo>
                  <a:pt x="28067" y="107217"/>
                </a:lnTo>
                <a:lnTo>
                  <a:pt x="25487" y="97027"/>
                </a:lnTo>
                <a:lnTo>
                  <a:pt x="43338" y="37216"/>
                </a:lnTo>
                <a:lnTo>
                  <a:pt x="89050" y="10017"/>
                </a:lnTo>
                <a:lnTo>
                  <a:pt x="136001" y="2891"/>
                </a:lnTo>
                <a:lnTo>
                  <a:pt x="157567" y="2891"/>
                </a:lnTo>
                <a:lnTo>
                  <a:pt x="157567" y="0"/>
                </a:lnTo>
                <a:close/>
              </a:path>
              <a:path w="534034" h="351155">
                <a:moveTo>
                  <a:pt x="441539" y="103631"/>
                </a:moveTo>
                <a:lnTo>
                  <a:pt x="434935" y="107060"/>
                </a:lnTo>
                <a:lnTo>
                  <a:pt x="472753" y="142210"/>
                </a:lnTo>
                <a:lnTo>
                  <a:pt x="502213" y="190230"/>
                </a:lnTo>
                <a:lnTo>
                  <a:pt x="516195" y="240131"/>
                </a:lnTo>
                <a:lnTo>
                  <a:pt x="507579" y="280924"/>
                </a:lnTo>
                <a:lnTo>
                  <a:pt x="478016" y="307480"/>
                </a:lnTo>
                <a:lnTo>
                  <a:pt x="441952" y="320214"/>
                </a:lnTo>
                <a:lnTo>
                  <a:pt x="411460" y="324161"/>
                </a:lnTo>
                <a:lnTo>
                  <a:pt x="398613" y="324357"/>
                </a:lnTo>
                <a:lnTo>
                  <a:pt x="501546" y="324357"/>
                </a:lnTo>
                <a:lnTo>
                  <a:pt x="526704" y="298891"/>
                </a:lnTo>
                <a:lnTo>
                  <a:pt x="533995" y="254126"/>
                </a:lnTo>
                <a:lnTo>
                  <a:pt x="515369" y="191125"/>
                </a:lnTo>
                <a:lnTo>
                  <a:pt x="484052" y="143779"/>
                </a:lnTo>
                <a:lnTo>
                  <a:pt x="454592" y="113984"/>
                </a:lnTo>
                <a:lnTo>
                  <a:pt x="441539" y="103631"/>
                </a:lnTo>
                <a:close/>
              </a:path>
              <a:path w="534034" h="351155">
                <a:moveTo>
                  <a:pt x="401291" y="254126"/>
                </a:moveTo>
                <a:lnTo>
                  <a:pt x="349083" y="254126"/>
                </a:lnTo>
                <a:lnTo>
                  <a:pt x="355687" y="257555"/>
                </a:lnTo>
                <a:lnTo>
                  <a:pt x="362291" y="257555"/>
                </a:lnTo>
                <a:lnTo>
                  <a:pt x="358989" y="267588"/>
                </a:lnTo>
                <a:lnTo>
                  <a:pt x="358989" y="321055"/>
                </a:lnTo>
                <a:lnTo>
                  <a:pt x="398804" y="321055"/>
                </a:lnTo>
                <a:lnTo>
                  <a:pt x="401319" y="277621"/>
                </a:lnTo>
                <a:lnTo>
                  <a:pt x="401291" y="254126"/>
                </a:lnTo>
                <a:close/>
              </a:path>
              <a:path w="534034" h="351155">
                <a:moveTo>
                  <a:pt x="401160" y="227288"/>
                </a:moveTo>
                <a:lnTo>
                  <a:pt x="290679" y="227288"/>
                </a:lnTo>
                <a:lnTo>
                  <a:pt x="306982" y="228679"/>
                </a:lnTo>
                <a:lnTo>
                  <a:pt x="319571" y="234475"/>
                </a:lnTo>
                <a:lnTo>
                  <a:pt x="325969" y="247522"/>
                </a:lnTo>
                <a:lnTo>
                  <a:pt x="327517" y="266961"/>
                </a:lnTo>
                <a:lnTo>
                  <a:pt x="330922" y="290163"/>
                </a:lnTo>
                <a:lnTo>
                  <a:pt x="334327" y="309602"/>
                </a:lnTo>
                <a:lnTo>
                  <a:pt x="335875" y="317753"/>
                </a:lnTo>
                <a:lnTo>
                  <a:pt x="349083" y="317753"/>
                </a:lnTo>
                <a:lnTo>
                  <a:pt x="349083" y="254126"/>
                </a:lnTo>
                <a:lnTo>
                  <a:pt x="401291" y="254126"/>
                </a:lnTo>
                <a:lnTo>
                  <a:pt x="401160" y="227288"/>
                </a:lnTo>
                <a:close/>
              </a:path>
              <a:path w="534034" h="351155">
                <a:moveTo>
                  <a:pt x="309459" y="264159"/>
                </a:moveTo>
                <a:lnTo>
                  <a:pt x="309459" y="314325"/>
                </a:lnTo>
                <a:lnTo>
                  <a:pt x="319365" y="314325"/>
                </a:lnTo>
                <a:lnTo>
                  <a:pt x="312761" y="267588"/>
                </a:lnTo>
                <a:lnTo>
                  <a:pt x="309459" y="264159"/>
                </a:lnTo>
                <a:close/>
              </a:path>
              <a:path w="534034" h="351155">
                <a:moveTo>
                  <a:pt x="246721" y="260857"/>
                </a:moveTo>
                <a:lnTo>
                  <a:pt x="246721" y="277621"/>
                </a:lnTo>
                <a:lnTo>
                  <a:pt x="243419" y="287654"/>
                </a:lnTo>
                <a:lnTo>
                  <a:pt x="243419" y="294258"/>
                </a:lnTo>
                <a:lnTo>
                  <a:pt x="250023" y="294258"/>
                </a:lnTo>
                <a:lnTo>
                  <a:pt x="250023" y="270890"/>
                </a:lnTo>
                <a:lnTo>
                  <a:pt x="246721" y="260857"/>
                </a:lnTo>
                <a:close/>
              </a:path>
              <a:path w="534034" h="351155">
                <a:moveTo>
                  <a:pt x="240787" y="234060"/>
                </a:moveTo>
                <a:lnTo>
                  <a:pt x="197191" y="234060"/>
                </a:lnTo>
                <a:lnTo>
                  <a:pt x="203795" y="237489"/>
                </a:lnTo>
                <a:lnTo>
                  <a:pt x="210399" y="237489"/>
                </a:lnTo>
                <a:lnTo>
                  <a:pt x="210399" y="277621"/>
                </a:lnTo>
                <a:lnTo>
                  <a:pt x="231128" y="277621"/>
                </a:lnTo>
                <a:lnTo>
                  <a:pt x="232171" y="266205"/>
                </a:lnTo>
                <a:lnTo>
                  <a:pt x="233522" y="254126"/>
                </a:lnTo>
                <a:lnTo>
                  <a:pt x="234854" y="247167"/>
                </a:lnTo>
                <a:lnTo>
                  <a:pt x="236815" y="240791"/>
                </a:lnTo>
                <a:lnTo>
                  <a:pt x="240168" y="234475"/>
                </a:lnTo>
                <a:lnTo>
                  <a:pt x="240787" y="234060"/>
                </a:lnTo>
                <a:close/>
              </a:path>
              <a:path w="534034" h="351155">
                <a:moveTo>
                  <a:pt x="434935" y="133730"/>
                </a:moveTo>
                <a:lnTo>
                  <a:pt x="405217" y="133730"/>
                </a:lnTo>
                <a:lnTo>
                  <a:pt x="418425" y="267588"/>
                </a:lnTo>
                <a:lnTo>
                  <a:pt x="425184" y="261614"/>
                </a:lnTo>
                <a:lnTo>
                  <a:pt x="430395" y="255031"/>
                </a:lnTo>
                <a:lnTo>
                  <a:pt x="433748" y="249711"/>
                </a:lnTo>
                <a:lnTo>
                  <a:pt x="434935" y="247522"/>
                </a:lnTo>
                <a:lnTo>
                  <a:pt x="434935" y="133730"/>
                </a:lnTo>
                <a:close/>
              </a:path>
              <a:path w="534034" h="351155">
                <a:moveTo>
                  <a:pt x="268787" y="93599"/>
                </a:moveTo>
                <a:lnTo>
                  <a:pt x="137755" y="93599"/>
                </a:lnTo>
                <a:lnTo>
                  <a:pt x="141521" y="97305"/>
                </a:lnTo>
                <a:lnTo>
                  <a:pt x="143121" y="102869"/>
                </a:lnTo>
                <a:lnTo>
                  <a:pt x="142863" y="109672"/>
                </a:lnTo>
                <a:lnTo>
                  <a:pt x="141057" y="117093"/>
                </a:lnTo>
                <a:lnTo>
                  <a:pt x="141057" y="240791"/>
                </a:lnTo>
                <a:lnTo>
                  <a:pt x="197191" y="240791"/>
                </a:lnTo>
                <a:lnTo>
                  <a:pt x="197191" y="234060"/>
                </a:lnTo>
                <a:lnTo>
                  <a:pt x="240787" y="234060"/>
                </a:lnTo>
                <a:lnTo>
                  <a:pt x="246308" y="230362"/>
                </a:lnTo>
                <a:lnTo>
                  <a:pt x="256782" y="228129"/>
                </a:lnTo>
                <a:lnTo>
                  <a:pt x="273137" y="227456"/>
                </a:lnTo>
                <a:lnTo>
                  <a:pt x="401160" y="227288"/>
                </a:lnTo>
                <a:lnTo>
                  <a:pt x="401128" y="220725"/>
                </a:lnTo>
                <a:lnTo>
                  <a:pt x="279741" y="220725"/>
                </a:lnTo>
                <a:lnTo>
                  <a:pt x="270041" y="217846"/>
                </a:lnTo>
                <a:lnTo>
                  <a:pt x="261580" y="210264"/>
                </a:lnTo>
                <a:lnTo>
                  <a:pt x="255595" y="199562"/>
                </a:lnTo>
                <a:lnTo>
                  <a:pt x="253325" y="187325"/>
                </a:lnTo>
                <a:lnTo>
                  <a:pt x="253325" y="180593"/>
                </a:lnTo>
                <a:lnTo>
                  <a:pt x="255595" y="171317"/>
                </a:lnTo>
                <a:lnTo>
                  <a:pt x="261580" y="163909"/>
                </a:lnTo>
                <a:lnTo>
                  <a:pt x="270041" y="159002"/>
                </a:lnTo>
                <a:lnTo>
                  <a:pt x="279741" y="157225"/>
                </a:lnTo>
                <a:lnTo>
                  <a:pt x="399534" y="157225"/>
                </a:lnTo>
                <a:lnTo>
                  <a:pt x="398613" y="133730"/>
                </a:lnTo>
                <a:lnTo>
                  <a:pt x="434935" y="133730"/>
                </a:lnTo>
                <a:lnTo>
                  <a:pt x="434935" y="127126"/>
                </a:lnTo>
                <a:lnTo>
                  <a:pt x="429278" y="103631"/>
                </a:lnTo>
                <a:lnTo>
                  <a:pt x="266533" y="103631"/>
                </a:lnTo>
                <a:lnTo>
                  <a:pt x="268787" y="93599"/>
                </a:lnTo>
                <a:close/>
              </a:path>
              <a:path w="534034" h="351155">
                <a:moveTo>
                  <a:pt x="399534" y="157225"/>
                </a:moveTo>
                <a:lnTo>
                  <a:pt x="279741" y="157225"/>
                </a:lnTo>
                <a:lnTo>
                  <a:pt x="289440" y="159002"/>
                </a:lnTo>
                <a:lnTo>
                  <a:pt x="297902" y="163909"/>
                </a:lnTo>
                <a:lnTo>
                  <a:pt x="303887" y="171317"/>
                </a:lnTo>
                <a:lnTo>
                  <a:pt x="306157" y="180593"/>
                </a:lnTo>
                <a:lnTo>
                  <a:pt x="302855" y="183895"/>
                </a:lnTo>
                <a:lnTo>
                  <a:pt x="306157" y="187325"/>
                </a:lnTo>
                <a:lnTo>
                  <a:pt x="303887" y="199562"/>
                </a:lnTo>
                <a:lnTo>
                  <a:pt x="297902" y="210264"/>
                </a:lnTo>
                <a:lnTo>
                  <a:pt x="289440" y="217846"/>
                </a:lnTo>
                <a:lnTo>
                  <a:pt x="279741" y="220725"/>
                </a:lnTo>
                <a:lnTo>
                  <a:pt x="401128" y="220725"/>
                </a:lnTo>
                <a:lnTo>
                  <a:pt x="401020" y="210264"/>
                </a:lnTo>
                <a:lnTo>
                  <a:pt x="399534" y="157225"/>
                </a:lnTo>
                <a:close/>
              </a:path>
              <a:path w="534034" h="351155">
                <a:moveTo>
                  <a:pt x="236815" y="20065"/>
                </a:moveTo>
                <a:lnTo>
                  <a:pt x="157567" y="20065"/>
                </a:lnTo>
                <a:lnTo>
                  <a:pt x="123721" y="29987"/>
                </a:lnTo>
                <a:lnTo>
                  <a:pt x="107211" y="51815"/>
                </a:lnTo>
                <a:lnTo>
                  <a:pt x="101846" y="73644"/>
                </a:lnTo>
                <a:lnTo>
                  <a:pt x="101433" y="83565"/>
                </a:lnTo>
                <a:lnTo>
                  <a:pt x="101433" y="207390"/>
                </a:lnTo>
                <a:lnTo>
                  <a:pt x="128440" y="207390"/>
                </a:lnTo>
                <a:lnTo>
                  <a:pt x="131087" y="102869"/>
                </a:lnTo>
                <a:lnTo>
                  <a:pt x="131151" y="93599"/>
                </a:lnTo>
                <a:lnTo>
                  <a:pt x="268787" y="93599"/>
                </a:lnTo>
                <a:lnTo>
                  <a:pt x="272724" y="76076"/>
                </a:lnTo>
                <a:lnTo>
                  <a:pt x="286345" y="61023"/>
                </a:lnTo>
                <a:lnTo>
                  <a:pt x="299966" y="54733"/>
                </a:lnTo>
                <a:lnTo>
                  <a:pt x="306157" y="53466"/>
                </a:lnTo>
                <a:lnTo>
                  <a:pt x="282785" y="32764"/>
                </a:lnTo>
                <a:lnTo>
                  <a:pt x="260342" y="23002"/>
                </a:lnTo>
                <a:lnTo>
                  <a:pt x="243470" y="20123"/>
                </a:lnTo>
                <a:lnTo>
                  <a:pt x="236815" y="20065"/>
                </a:lnTo>
                <a:close/>
              </a:path>
              <a:path w="534034" h="351155">
                <a:moveTo>
                  <a:pt x="382103" y="70230"/>
                </a:moveTo>
                <a:lnTo>
                  <a:pt x="309459" y="70230"/>
                </a:lnTo>
                <a:lnTo>
                  <a:pt x="288460" y="75449"/>
                </a:lnTo>
                <a:lnTo>
                  <a:pt x="277677" y="86931"/>
                </a:lnTo>
                <a:lnTo>
                  <a:pt x="273704" y="98413"/>
                </a:lnTo>
                <a:lnTo>
                  <a:pt x="273137" y="103631"/>
                </a:lnTo>
                <a:lnTo>
                  <a:pt x="429278" y="103631"/>
                </a:lnTo>
                <a:lnTo>
                  <a:pt x="426680" y="92840"/>
                </a:lnTo>
                <a:lnTo>
                  <a:pt x="408519" y="76104"/>
                </a:lnTo>
                <a:lnTo>
                  <a:pt x="390358" y="70655"/>
                </a:lnTo>
                <a:lnTo>
                  <a:pt x="382103" y="70230"/>
                </a:lnTo>
                <a:close/>
              </a:path>
              <a:path w="534034" h="351155">
                <a:moveTo>
                  <a:pt x="157567" y="2891"/>
                </a:moveTo>
                <a:lnTo>
                  <a:pt x="136001" y="2891"/>
                </a:lnTo>
                <a:lnTo>
                  <a:pt x="157567" y="3301"/>
                </a:lnTo>
                <a:lnTo>
                  <a:pt x="157567" y="2891"/>
                </a:lnTo>
                <a:close/>
              </a:path>
            </a:pathLst>
          </a:custGeom>
          <a:solidFill>
            <a:srgbClr val="4471C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46">
            <a:extLst>
              <a:ext uri="{FF2B5EF4-FFF2-40B4-BE49-F238E27FC236}">
                <a16:creationId xmlns:a16="http://schemas.microsoft.com/office/drawing/2014/main" id="{70B66CBD-D350-49D0-AA02-6FB8DB6FC5E3}"/>
              </a:ext>
            </a:extLst>
          </p:cNvPr>
          <p:cNvSpPr/>
          <p:nvPr/>
        </p:nvSpPr>
        <p:spPr>
          <a:xfrm>
            <a:off x="8456862" y="2897328"/>
            <a:ext cx="13970" cy="76200"/>
          </a:xfrm>
          <a:custGeom>
            <a:avLst/>
            <a:gdLst/>
            <a:ahLst/>
            <a:cxnLst/>
            <a:rect l="l" t="t" r="r" b="b"/>
            <a:pathLst>
              <a:path w="13970" h="76200">
                <a:moveTo>
                  <a:pt x="10287" y="0"/>
                </a:moveTo>
                <a:lnTo>
                  <a:pt x="3428" y="0"/>
                </a:lnTo>
                <a:lnTo>
                  <a:pt x="0" y="76200"/>
                </a:lnTo>
                <a:lnTo>
                  <a:pt x="13716" y="76200"/>
                </a:lnTo>
                <a:lnTo>
                  <a:pt x="10287" y="0"/>
                </a:lnTo>
                <a:close/>
              </a:path>
            </a:pathLst>
          </a:custGeom>
          <a:solidFill>
            <a:srgbClr val="4471C4"/>
          </a:solidFill>
        </p:spPr>
        <p:txBody>
          <a:bodyPr wrap="square" lIns="0" tIns="0" rIns="0" bIns="0" rtlCol="0"/>
          <a:lstStyle/>
          <a:p>
            <a:endParaRPr>
              <a:solidFill>
                <a:srgbClr val="92D050"/>
              </a:solidFill>
            </a:endParaRPr>
          </a:p>
        </p:txBody>
      </p:sp>
      <p:sp>
        <p:nvSpPr>
          <p:cNvPr id="59" name="object 47">
            <a:extLst>
              <a:ext uri="{FF2B5EF4-FFF2-40B4-BE49-F238E27FC236}">
                <a16:creationId xmlns:a16="http://schemas.microsoft.com/office/drawing/2014/main" id="{DE2F07A4-0884-42FB-953B-18F6CA711652}"/>
              </a:ext>
            </a:extLst>
          </p:cNvPr>
          <p:cNvSpPr/>
          <p:nvPr/>
        </p:nvSpPr>
        <p:spPr>
          <a:xfrm>
            <a:off x="8397425" y="2880563"/>
            <a:ext cx="36830" cy="93345"/>
          </a:xfrm>
          <a:custGeom>
            <a:avLst/>
            <a:gdLst/>
            <a:ahLst/>
            <a:cxnLst/>
            <a:rect l="l" t="t" r="r" b="b"/>
            <a:pathLst>
              <a:path w="36829" h="93344">
                <a:moveTo>
                  <a:pt x="0" y="0"/>
                </a:moveTo>
                <a:lnTo>
                  <a:pt x="0" y="92963"/>
                </a:lnTo>
                <a:lnTo>
                  <a:pt x="36575" y="92963"/>
                </a:lnTo>
                <a:lnTo>
                  <a:pt x="36575" y="9905"/>
                </a:lnTo>
                <a:lnTo>
                  <a:pt x="17049" y="4952"/>
                </a:lnTo>
                <a:lnTo>
                  <a:pt x="8072" y="2476"/>
                </a:lnTo>
                <a:lnTo>
                  <a:pt x="0" y="0"/>
                </a:lnTo>
                <a:close/>
              </a:path>
            </a:pathLst>
          </a:custGeom>
          <a:solidFill>
            <a:srgbClr val="4471C4"/>
          </a:solidFill>
        </p:spPr>
        <p:txBody>
          <a:bodyPr wrap="square" lIns="0" tIns="0" rIns="0" bIns="0" rtlCol="0"/>
          <a:lstStyle/>
          <a:p>
            <a:endParaRPr>
              <a:solidFill>
                <a:srgbClr val="92D050"/>
              </a:solidFill>
            </a:endParaRPr>
          </a:p>
        </p:txBody>
      </p:sp>
      <p:sp>
        <p:nvSpPr>
          <p:cNvPr id="60" name="object 48">
            <a:extLst>
              <a:ext uri="{FF2B5EF4-FFF2-40B4-BE49-F238E27FC236}">
                <a16:creationId xmlns:a16="http://schemas.microsoft.com/office/drawing/2014/main" id="{D42C2851-F06A-4E43-8FA7-32C6CA5BC357}"/>
              </a:ext>
            </a:extLst>
          </p:cNvPr>
          <p:cNvSpPr/>
          <p:nvPr/>
        </p:nvSpPr>
        <p:spPr>
          <a:xfrm>
            <a:off x="8493437" y="2903423"/>
            <a:ext cx="82296" cy="7010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srgbClr val="92D050"/>
              </a:solidFill>
            </a:endParaRPr>
          </a:p>
        </p:txBody>
      </p:sp>
      <p:sp>
        <p:nvSpPr>
          <p:cNvPr id="61" name="object 49">
            <a:extLst>
              <a:ext uri="{FF2B5EF4-FFF2-40B4-BE49-F238E27FC236}">
                <a16:creationId xmlns:a16="http://schemas.microsoft.com/office/drawing/2014/main" id="{F2F1232E-5D3E-46ED-9FD2-1CA3D3590815}"/>
              </a:ext>
            </a:extLst>
          </p:cNvPr>
          <p:cNvSpPr/>
          <p:nvPr/>
        </p:nvSpPr>
        <p:spPr>
          <a:xfrm>
            <a:off x="8328846" y="2842463"/>
            <a:ext cx="48895" cy="131445"/>
          </a:xfrm>
          <a:custGeom>
            <a:avLst/>
            <a:gdLst/>
            <a:ahLst/>
            <a:cxnLst/>
            <a:rect l="l" t="t" r="r" b="b"/>
            <a:pathLst>
              <a:path w="48895" h="131444">
                <a:moveTo>
                  <a:pt x="0" y="0"/>
                </a:moveTo>
                <a:lnTo>
                  <a:pt x="3301" y="131063"/>
                </a:lnTo>
                <a:lnTo>
                  <a:pt x="45465" y="131063"/>
                </a:lnTo>
                <a:lnTo>
                  <a:pt x="48767" y="26924"/>
                </a:lnTo>
                <a:lnTo>
                  <a:pt x="26038" y="17037"/>
                </a:lnTo>
                <a:lnTo>
                  <a:pt x="10953" y="8413"/>
                </a:lnTo>
                <a:lnTo>
                  <a:pt x="2583" y="2313"/>
                </a:lnTo>
                <a:lnTo>
                  <a:pt x="0" y="0"/>
                </a:lnTo>
                <a:close/>
              </a:path>
            </a:pathLst>
          </a:custGeom>
          <a:solidFill>
            <a:srgbClr val="4471C4"/>
          </a:solidFill>
        </p:spPr>
        <p:txBody>
          <a:bodyPr wrap="square" lIns="0" tIns="0" rIns="0" bIns="0" rtlCol="0"/>
          <a:lstStyle/>
          <a:p>
            <a:endParaRPr>
              <a:solidFill>
                <a:srgbClr val="92D050"/>
              </a:solidFill>
            </a:endParaRPr>
          </a:p>
        </p:txBody>
      </p:sp>
      <p:sp>
        <p:nvSpPr>
          <p:cNvPr id="62" name="object 50">
            <a:extLst>
              <a:ext uri="{FF2B5EF4-FFF2-40B4-BE49-F238E27FC236}">
                <a16:creationId xmlns:a16="http://schemas.microsoft.com/office/drawing/2014/main" id="{3753EC33-72A8-459F-A359-655344CFF9D9}"/>
              </a:ext>
            </a:extLst>
          </p:cNvPr>
          <p:cNvSpPr/>
          <p:nvPr/>
        </p:nvSpPr>
        <p:spPr>
          <a:xfrm>
            <a:off x="6850916" y="1090246"/>
            <a:ext cx="543560" cy="457200"/>
          </a:xfrm>
          <a:custGeom>
            <a:avLst/>
            <a:gdLst/>
            <a:ahLst/>
            <a:cxnLst/>
            <a:rect l="l" t="t" r="r" b="b"/>
            <a:pathLst>
              <a:path w="543560" h="457200">
                <a:moveTo>
                  <a:pt x="387589" y="383539"/>
                </a:moveTo>
                <a:lnTo>
                  <a:pt x="15065" y="383539"/>
                </a:lnTo>
                <a:lnTo>
                  <a:pt x="56848" y="384810"/>
                </a:lnTo>
                <a:lnTo>
                  <a:pt x="56086" y="388620"/>
                </a:lnTo>
                <a:lnTo>
                  <a:pt x="56086" y="394970"/>
                </a:lnTo>
                <a:lnTo>
                  <a:pt x="60969" y="419100"/>
                </a:lnTo>
                <a:lnTo>
                  <a:pt x="74295" y="439420"/>
                </a:lnTo>
                <a:lnTo>
                  <a:pt x="94073" y="453389"/>
                </a:lnTo>
                <a:lnTo>
                  <a:pt x="118316" y="457200"/>
                </a:lnTo>
                <a:lnTo>
                  <a:pt x="142579" y="453389"/>
                </a:lnTo>
                <a:lnTo>
                  <a:pt x="162401" y="439420"/>
                </a:lnTo>
                <a:lnTo>
                  <a:pt x="175769" y="419100"/>
                </a:lnTo>
                <a:lnTo>
                  <a:pt x="118316" y="419100"/>
                </a:lnTo>
                <a:lnTo>
                  <a:pt x="108646" y="417829"/>
                </a:lnTo>
                <a:lnTo>
                  <a:pt x="100869" y="412750"/>
                </a:lnTo>
                <a:lnTo>
                  <a:pt x="95688" y="403860"/>
                </a:lnTo>
                <a:lnTo>
                  <a:pt x="93805" y="394970"/>
                </a:lnTo>
                <a:lnTo>
                  <a:pt x="93805" y="391160"/>
                </a:lnTo>
                <a:lnTo>
                  <a:pt x="94567" y="388620"/>
                </a:lnTo>
                <a:lnTo>
                  <a:pt x="95456" y="384810"/>
                </a:lnTo>
                <a:lnTo>
                  <a:pt x="386033" y="384810"/>
                </a:lnTo>
                <a:lnTo>
                  <a:pt x="387589" y="383539"/>
                </a:lnTo>
                <a:close/>
              </a:path>
              <a:path w="543560" h="457200">
                <a:moveTo>
                  <a:pt x="529207" y="360679"/>
                </a:moveTo>
                <a:lnTo>
                  <a:pt x="424894" y="360679"/>
                </a:lnTo>
                <a:lnTo>
                  <a:pt x="420955" y="368300"/>
                </a:lnTo>
                <a:lnTo>
                  <a:pt x="417861" y="375920"/>
                </a:lnTo>
                <a:lnTo>
                  <a:pt x="415839" y="384810"/>
                </a:lnTo>
                <a:lnTo>
                  <a:pt x="415115" y="394970"/>
                </a:lnTo>
                <a:lnTo>
                  <a:pt x="420000" y="419100"/>
                </a:lnTo>
                <a:lnTo>
                  <a:pt x="433339" y="439420"/>
                </a:lnTo>
                <a:lnTo>
                  <a:pt x="453155" y="453389"/>
                </a:lnTo>
                <a:lnTo>
                  <a:pt x="477472" y="457200"/>
                </a:lnTo>
                <a:lnTo>
                  <a:pt x="501854" y="453389"/>
                </a:lnTo>
                <a:lnTo>
                  <a:pt x="521938" y="439420"/>
                </a:lnTo>
                <a:lnTo>
                  <a:pt x="535568" y="419100"/>
                </a:lnTo>
                <a:lnTo>
                  <a:pt x="477472" y="419100"/>
                </a:lnTo>
                <a:lnTo>
                  <a:pt x="468050" y="417829"/>
                </a:lnTo>
                <a:lnTo>
                  <a:pt x="460200" y="412750"/>
                </a:lnTo>
                <a:lnTo>
                  <a:pt x="454826" y="403860"/>
                </a:lnTo>
                <a:lnTo>
                  <a:pt x="452834" y="394970"/>
                </a:lnTo>
                <a:lnTo>
                  <a:pt x="454826" y="384810"/>
                </a:lnTo>
                <a:lnTo>
                  <a:pt x="460200" y="377189"/>
                </a:lnTo>
                <a:lnTo>
                  <a:pt x="468050" y="372110"/>
                </a:lnTo>
                <a:lnTo>
                  <a:pt x="477472" y="369570"/>
                </a:lnTo>
                <a:lnTo>
                  <a:pt x="535568" y="369570"/>
                </a:lnTo>
                <a:lnTo>
                  <a:pt x="529207" y="360679"/>
                </a:lnTo>
                <a:close/>
              </a:path>
              <a:path w="543560" h="457200">
                <a:moveTo>
                  <a:pt x="386033" y="384810"/>
                </a:moveTo>
                <a:lnTo>
                  <a:pt x="95456" y="384810"/>
                </a:lnTo>
                <a:lnTo>
                  <a:pt x="141303" y="386079"/>
                </a:lnTo>
                <a:lnTo>
                  <a:pt x="142192" y="388620"/>
                </a:lnTo>
                <a:lnTo>
                  <a:pt x="142954" y="391160"/>
                </a:lnTo>
                <a:lnTo>
                  <a:pt x="142954" y="394970"/>
                </a:lnTo>
                <a:lnTo>
                  <a:pt x="141069" y="403860"/>
                </a:lnTo>
                <a:lnTo>
                  <a:pt x="135874" y="412750"/>
                </a:lnTo>
                <a:lnTo>
                  <a:pt x="128059" y="417829"/>
                </a:lnTo>
                <a:lnTo>
                  <a:pt x="118316" y="419100"/>
                </a:lnTo>
                <a:lnTo>
                  <a:pt x="175769" y="419100"/>
                </a:lnTo>
                <a:lnTo>
                  <a:pt x="180673" y="394970"/>
                </a:lnTo>
                <a:lnTo>
                  <a:pt x="180673" y="388620"/>
                </a:lnTo>
                <a:lnTo>
                  <a:pt x="179784" y="386079"/>
                </a:lnTo>
                <a:lnTo>
                  <a:pt x="384476" y="386079"/>
                </a:lnTo>
                <a:lnTo>
                  <a:pt x="386033" y="384810"/>
                </a:lnTo>
                <a:close/>
              </a:path>
              <a:path w="543560" h="457200">
                <a:moveTo>
                  <a:pt x="535568" y="369570"/>
                </a:moveTo>
                <a:lnTo>
                  <a:pt x="477472" y="369570"/>
                </a:lnTo>
                <a:lnTo>
                  <a:pt x="487142" y="372110"/>
                </a:lnTo>
                <a:lnTo>
                  <a:pt x="494918" y="377189"/>
                </a:lnTo>
                <a:lnTo>
                  <a:pt x="500100" y="384810"/>
                </a:lnTo>
                <a:lnTo>
                  <a:pt x="501983" y="394970"/>
                </a:lnTo>
                <a:lnTo>
                  <a:pt x="500100" y="403860"/>
                </a:lnTo>
                <a:lnTo>
                  <a:pt x="494918" y="412750"/>
                </a:lnTo>
                <a:lnTo>
                  <a:pt x="487142" y="417829"/>
                </a:lnTo>
                <a:lnTo>
                  <a:pt x="477472" y="419100"/>
                </a:lnTo>
                <a:lnTo>
                  <a:pt x="535568" y="419100"/>
                </a:lnTo>
                <a:lnTo>
                  <a:pt x="540591" y="394970"/>
                </a:lnTo>
                <a:lnTo>
                  <a:pt x="535568" y="369570"/>
                </a:lnTo>
                <a:close/>
              </a:path>
              <a:path w="543560" h="457200">
                <a:moveTo>
                  <a:pt x="384476" y="386079"/>
                </a:moveTo>
                <a:lnTo>
                  <a:pt x="199469" y="386079"/>
                </a:lnTo>
                <a:lnTo>
                  <a:pt x="199469" y="394970"/>
                </a:lnTo>
                <a:lnTo>
                  <a:pt x="211788" y="396239"/>
                </a:lnTo>
                <a:lnTo>
                  <a:pt x="275318" y="397510"/>
                </a:lnTo>
                <a:lnTo>
                  <a:pt x="331606" y="397510"/>
                </a:lnTo>
                <a:lnTo>
                  <a:pt x="350345" y="398779"/>
                </a:lnTo>
                <a:lnTo>
                  <a:pt x="369756" y="394970"/>
                </a:lnTo>
                <a:lnTo>
                  <a:pt x="384476" y="386079"/>
                </a:lnTo>
                <a:close/>
              </a:path>
              <a:path w="543560" h="457200">
                <a:moveTo>
                  <a:pt x="412700" y="374650"/>
                </a:moveTo>
                <a:lnTo>
                  <a:pt x="397081" y="374650"/>
                </a:lnTo>
                <a:lnTo>
                  <a:pt x="392128" y="381000"/>
                </a:lnTo>
                <a:lnTo>
                  <a:pt x="388826" y="391160"/>
                </a:lnTo>
                <a:lnTo>
                  <a:pt x="401552" y="386079"/>
                </a:lnTo>
                <a:lnTo>
                  <a:pt x="407860" y="381000"/>
                </a:lnTo>
                <a:lnTo>
                  <a:pt x="412700" y="374650"/>
                </a:lnTo>
                <a:close/>
              </a:path>
              <a:path w="543560" h="457200">
                <a:moveTo>
                  <a:pt x="53538" y="292100"/>
                </a:moveTo>
                <a:lnTo>
                  <a:pt x="44275" y="292100"/>
                </a:lnTo>
                <a:lnTo>
                  <a:pt x="38250" y="293370"/>
                </a:lnTo>
                <a:lnTo>
                  <a:pt x="34750" y="295910"/>
                </a:lnTo>
                <a:lnTo>
                  <a:pt x="30686" y="295910"/>
                </a:lnTo>
                <a:lnTo>
                  <a:pt x="28146" y="302260"/>
                </a:lnTo>
                <a:lnTo>
                  <a:pt x="28146" y="316229"/>
                </a:lnTo>
                <a:lnTo>
                  <a:pt x="30686" y="322579"/>
                </a:lnTo>
                <a:lnTo>
                  <a:pt x="33861" y="322579"/>
                </a:lnTo>
                <a:lnTo>
                  <a:pt x="32337" y="325120"/>
                </a:lnTo>
                <a:lnTo>
                  <a:pt x="29797" y="326389"/>
                </a:lnTo>
                <a:lnTo>
                  <a:pt x="2260" y="367029"/>
                </a:lnTo>
                <a:lnTo>
                  <a:pt x="0" y="383539"/>
                </a:lnTo>
                <a:lnTo>
                  <a:pt x="8955" y="386079"/>
                </a:lnTo>
                <a:lnTo>
                  <a:pt x="15065" y="383539"/>
                </a:lnTo>
                <a:lnTo>
                  <a:pt x="387589" y="383539"/>
                </a:lnTo>
                <a:lnTo>
                  <a:pt x="393815" y="378460"/>
                </a:lnTo>
                <a:lnTo>
                  <a:pt x="397081" y="374650"/>
                </a:lnTo>
                <a:lnTo>
                  <a:pt x="412700" y="374650"/>
                </a:lnTo>
                <a:lnTo>
                  <a:pt x="413668" y="373379"/>
                </a:lnTo>
                <a:lnTo>
                  <a:pt x="300307" y="373379"/>
                </a:lnTo>
                <a:lnTo>
                  <a:pt x="301958" y="367029"/>
                </a:lnTo>
                <a:lnTo>
                  <a:pt x="264239" y="367029"/>
                </a:lnTo>
                <a:lnTo>
                  <a:pt x="246411" y="330200"/>
                </a:lnTo>
                <a:lnTo>
                  <a:pt x="247919" y="297179"/>
                </a:lnTo>
                <a:lnTo>
                  <a:pt x="249111" y="294639"/>
                </a:lnTo>
                <a:lnTo>
                  <a:pt x="66754" y="294639"/>
                </a:lnTo>
                <a:lnTo>
                  <a:pt x="53538" y="292100"/>
                </a:lnTo>
                <a:close/>
              </a:path>
              <a:path w="543560" h="457200">
                <a:moveTo>
                  <a:pt x="383996" y="233679"/>
                </a:moveTo>
                <a:lnTo>
                  <a:pt x="376951" y="240029"/>
                </a:lnTo>
                <a:lnTo>
                  <a:pt x="376670" y="257810"/>
                </a:lnTo>
                <a:lnTo>
                  <a:pt x="381460" y="294639"/>
                </a:lnTo>
                <a:lnTo>
                  <a:pt x="384510" y="332739"/>
                </a:lnTo>
                <a:lnTo>
                  <a:pt x="382428" y="354329"/>
                </a:lnTo>
                <a:lnTo>
                  <a:pt x="378656" y="364489"/>
                </a:lnTo>
                <a:lnTo>
                  <a:pt x="376634" y="367029"/>
                </a:lnTo>
                <a:lnTo>
                  <a:pt x="352242" y="369570"/>
                </a:lnTo>
                <a:lnTo>
                  <a:pt x="331708" y="372110"/>
                </a:lnTo>
                <a:lnTo>
                  <a:pt x="314555" y="373379"/>
                </a:lnTo>
                <a:lnTo>
                  <a:pt x="413668" y="373379"/>
                </a:lnTo>
                <a:lnTo>
                  <a:pt x="424894" y="360679"/>
                </a:lnTo>
                <a:lnTo>
                  <a:pt x="529207" y="360679"/>
                </a:lnTo>
                <a:lnTo>
                  <a:pt x="521938" y="350520"/>
                </a:lnTo>
                <a:lnTo>
                  <a:pt x="501854" y="336550"/>
                </a:lnTo>
                <a:lnTo>
                  <a:pt x="495758" y="335279"/>
                </a:lnTo>
                <a:lnTo>
                  <a:pt x="455247" y="335279"/>
                </a:lnTo>
                <a:lnTo>
                  <a:pt x="462613" y="332739"/>
                </a:lnTo>
                <a:lnTo>
                  <a:pt x="467204" y="331961"/>
                </a:lnTo>
                <a:lnTo>
                  <a:pt x="487283" y="326389"/>
                </a:lnTo>
                <a:lnTo>
                  <a:pt x="529128" y="326389"/>
                </a:lnTo>
                <a:lnTo>
                  <a:pt x="514185" y="308610"/>
                </a:lnTo>
                <a:lnTo>
                  <a:pt x="505733" y="306070"/>
                </a:lnTo>
                <a:lnTo>
                  <a:pt x="440515" y="306070"/>
                </a:lnTo>
                <a:lnTo>
                  <a:pt x="436000" y="276860"/>
                </a:lnTo>
                <a:lnTo>
                  <a:pt x="432022" y="260350"/>
                </a:lnTo>
                <a:lnTo>
                  <a:pt x="426352" y="246379"/>
                </a:lnTo>
                <a:lnTo>
                  <a:pt x="419163" y="234950"/>
                </a:lnTo>
                <a:lnTo>
                  <a:pt x="399494" y="234950"/>
                </a:lnTo>
                <a:lnTo>
                  <a:pt x="383996" y="233679"/>
                </a:lnTo>
                <a:close/>
              </a:path>
              <a:path w="543560" h="457200">
                <a:moveTo>
                  <a:pt x="341669" y="229870"/>
                </a:moveTo>
                <a:lnTo>
                  <a:pt x="321643" y="229870"/>
                </a:lnTo>
                <a:lnTo>
                  <a:pt x="307421" y="246379"/>
                </a:lnTo>
                <a:lnTo>
                  <a:pt x="299783" y="257810"/>
                </a:lnTo>
                <a:lnTo>
                  <a:pt x="296122" y="267970"/>
                </a:lnTo>
                <a:lnTo>
                  <a:pt x="293830" y="280670"/>
                </a:lnTo>
                <a:lnTo>
                  <a:pt x="289361" y="299720"/>
                </a:lnTo>
                <a:lnTo>
                  <a:pt x="282749" y="318770"/>
                </a:lnTo>
                <a:lnTo>
                  <a:pt x="276756" y="332739"/>
                </a:lnTo>
                <a:lnTo>
                  <a:pt x="274145" y="339089"/>
                </a:lnTo>
                <a:lnTo>
                  <a:pt x="274907" y="339089"/>
                </a:lnTo>
                <a:lnTo>
                  <a:pt x="276558" y="340360"/>
                </a:lnTo>
                <a:lnTo>
                  <a:pt x="270843" y="350520"/>
                </a:lnTo>
                <a:lnTo>
                  <a:pt x="269192" y="354329"/>
                </a:lnTo>
                <a:lnTo>
                  <a:pt x="268430" y="358139"/>
                </a:lnTo>
                <a:lnTo>
                  <a:pt x="265890" y="358139"/>
                </a:lnTo>
                <a:lnTo>
                  <a:pt x="264239" y="367029"/>
                </a:lnTo>
                <a:lnTo>
                  <a:pt x="301958" y="367029"/>
                </a:lnTo>
                <a:lnTo>
                  <a:pt x="296243" y="363220"/>
                </a:lnTo>
                <a:lnTo>
                  <a:pt x="293385" y="360679"/>
                </a:lnTo>
                <a:lnTo>
                  <a:pt x="278209" y="360679"/>
                </a:lnTo>
                <a:lnTo>
                  <a:pt x="280622" y="354329"/>
                </a:lnTo>
                <a:lnTo>
                  <a:pt x="283924" y="346710"/>
                </a:lnTo>
                <a:lnTo>
                  <a:pt x="290203" y="346710"/>
                </a:lnTo>
                <a:lnTo>
                  <a:pt x="322206" y="292100"/>
                </a:lnTo>
                <a:lnTo>
                  <a:pt x="339423" y="259079"/>
                </a:lnTo>
                <a:lnTo>
                  <a:pt x="343876" y="240029"/>
                </a:lnTo>
                <a:lnTo>
                  <a:pt x="341669" y="229870"/>
                </a:lnTo>
                <a:close/>
              </a:path>
              <a:path w="543560" h="457200">
                <a:moveTo>
                  <a:pt x="290528" y="358139"/>
                </a:moveTo>
                <a:lnTo>
                  <a:pt x="278209" y="360679"/>
                </a:lnTo>
                <a:lnTo>
                  <a:pt x="293385" y="360679"/>
                </a:lnTo>
                <a:lnTo>
                  <a:pt x="290528" y="358139"/>
                </a:lnTo>
                <a:close/>
              </a:path>
              <a:path w="543560" h="457200">
                <a:moveTo>
                  <a:pt x="290203" y="346710"/>
                </a:moveTo>
                <a:lnTo>
                  <a:pt x="283924" y="346710"/>
                </a:lnTo>
                <a:lnTo>
                  <a:pt x="285575" y="347979"/>
                </a:lnTo>
                <a:lnTo>
                  <a:pt x="286464" y="350520"/>
                </a:lnTo>
                <a:lnTo>
                  <a:pt x="287226" y="351789"/>
                </a:lnTo>
                <a:lnTo>
                  <a:pt x="290203" y="346710"/>
                </a:lnTo>
                <a:close/>
              </a:path>
              <a:path w="543560" h="457200">
                <a:moveTo>
                  <a:pt x="529128" y="326389"/>
                </a:moveTo>
                <a:lnTo>
                  <a:pt x="487283" y="326389"/>
                </a:lnTo>
                <a:lnTo>
                  <a:pt x="515413" y="330200"/>
                </a:lnTo>
                <a:lnTo>
                  <a:pt x="535400" y="339089"/>
                </a:lnTo>
                <a:lnTo>
                  <a:pt x="543004" y="342900"/>
                </a:lnTo>
                <a:lnTo>
                  <a:pt x="529128" y="326389"/>
                </a:lnTo>
                <a:close/>
              </a:path>
              <a:path w="543560" h="457200">
                <a:moveTo>
                  <a:pt x="477472" y="331470"/>
                </a:moveTo>
                <a:lnTo>
                  <a:pt x="470106" y="331470"/>
                </a:lnTo>
                <a:lnTo>
                  <a:pt x="467204" y="331961"/>
                </a:lnTo>
                <a:lnTo>
                  <a:pt x="455247" y="335279"/>
                </a:lnTo>
                <a:lnTo>
                  <a:pt x="495758" y="335279"/>
                </a:lnTo>
                <a:lnTo>
                  <a:pt x="477472" y="331470"/>
                </a:lnTo>
                <a:close/>
              </a:path>
              <a:path w="543560" h="457200">
                <a:moveTo>
                  <a:pt x="480377" y="298450"/>
                </a:moveTo>
                <a:lnTo>
                  <a:pt x="452260" y="302260"/>
                </a:lnTo>
                <a:lnTo>
                  <a:pt x="440515" y="306070"/>
                </a:lnTo>
                <a:lnTo>
                  <a:pt x="505733" y="306070"/>
                </a:lnTo>
                <a:lnTo>
                  <a:pt x="480377" y="298450"/>
                </a:lnTo>
                <a:close/>
              </a:path>
              <a:path w="543560" h="457200">
                <a:moveTo>
                  <a:pt x="161750" y="151129"/>
                </a:moveTo>
                <a:lnTo>
                  <a:pt x="19129" y="151129"/>
                </a:lnTo>
                <a:lnTo>
                  <a:pt x="19129" y="266700"/>
                </a:lnTo>
                <a:lnTo>
                  <a:pt x="64214" y="266700"/>
                </a:lnTo>
                <a:lnTo>
                  <a:pt x="68415" y="275589"/>
                </a:lnTo>
                <a:lnTo>
                  <a:pt x="68865" y="284479"/>
                </a:lnTo>
                <a:lnTo>
                  <a:pt x="67625" y="292100"/>
                </a:lnTo>
                <a:lnTo>
                  <a:pt x="66754" y="294639"/>
                </a:lnTo>
                <a:lnTo>
                  <a:pt x="249111" y="294639"/>
                </a:lnTo>
                <a:lnTo>
                  <a:pt x="259238" y="273050"/>
                </a:lnTo>
                <a:lnTo>
                  <a:pt x="267942" y="261620"/>
                </a:lnTo>
                <a:lnTo>
                  <a:pt x="170767" y="261620"/>
                </a:lnTo>
                <a:lnTo>
                  <a:pt x="170005" y="254000"/>
                </a:lnTo>
                <a:lnTo>
                  <a:pt x="161750" y="254000"/>
                </a:lnTo>
                <a:lnTo>
                  <a:pt x="161750" y="252729"/>
                </a:lnTo>
                <a:lnTo>
                  <a:pt x="33099" y="252729"/>
                </a:lnTo>
                <a:lnTo>
                  <a:pt x="33099" y="196850"/>
                </a:lnTo>
                <a:lnTo>
                  <a:pt x="161750" y="196850"/>
                </a:lnTo>
                <a:lnTo>
                  <a:pt x="161750" y="182879"/>
                </a:lnTo>
                <a:lnTo>
                  <a:pt x="33099" y="182879"/>
                </a:lnTo>
                <a:lnTo>
                  <a:pt x="33099" y="165100"/>
                </a:lnTo>
                <a:lnTo>
                  <a:pt x="161750" y="165100"/>
                </a:lnTo>
                <a:lnTo>
                  <a:pt x="161750" y="151129"/>
                </a:lnTo>
                <a:close/>
              </a:path>
              <a:path w="543560" h="457200">
                <a:moveTo>
                  <a:pt x="197897" y="190500"/>
                </a:moveTo>
                <a:lnTo>
                  <a:pt x="193756" y="190500"/>
                </a:lnTo>
                <a:lnTo>
                  <a:pt x="185626" y="196850"/>
                </a:lnTo>
                <a:lnTo>
                  <a:pt x="174271" y="217170"/>
                </a:lnTo>
                <a:lnTo>
                  <a:pt x="177276" y="237489"/>
                </a:lnTo>
                <a:lnTo>
                  <a:pt x="185662" y="251460"/>
                </a:lnTo>
                <a:lnTo>
                  <a:pt x="190452" y="257810"/>
                </a:lnTo>
                <a:lnTo>
                  <a:pt x="179022" y="259079"/>
                </a:lnTo>
                <a:lnTo>
                  <a:pt x="170767" y="261620"/>
                </a:lnTo>
                <a:lnTo>
                  <a:pt x="267942" y="261620"/>
                </a:lnTo>
                <a:lnTo>
                  <a:pt x="270843" y="257810"/>
                </a:lnTo>
                <a:lnTo>
                  <a:pt x="286238" y="254000"/>
                </a:lnTo>
                <a:lnTo>
                  <a:pt x="291322" y="245110"/>
                </a:lnTo>
                <a:lnTo>
                  <a:pt x="289024" y="234950"/>
                </a:lnTo>
                <a:lnTo>
                  <a:pt x="282273" y="229870"/>
                </a:lnTo>
                <a:lnTo>
                  <a:pt x="341669" y="229870"/>
                </a:lnTo>
                <a:lnTo>
                  <a:pt x="340566" y="224789"/>
                </a:lnTo>
                <a:lnTo>
                  <a:pt x="325598" y="208279"/>
                </a:lnTo>
                <a:lnTo>
                  <a:pt x="313718" y="200660"/>
                </a:lnTo>
                <a:lnTo>
                  <a:pt x="205311" y="200660"/>
                </a:lnTo>
                <a:lnTo>
                  <a:pt x="200824" y="194310"/>
                </a:lnTo>
                <a:lnTo>
                  <a:pt x="197897" y="190500"/>
                </a:lnTo>
                <a:close/>
              </a:path>
              <a:path w="543560" h="457200">
                <a:moveTo>
                  <a:pt x="161750" y="196850"/>
                </a:moveTo>
                <a:lnTo>
                  <a:pt x="147907" y="196850"/>
                </a:lnTo>
                <a:lnTo>
                  <a:pt x="147907" y="252729"/>
                </a:lnTo>
                <a:lnTo>
                  <a:pt x="161750" y="252729"/>
                </a:lnTo>
                <a:lnTo>
                  <a:pt x="161750" y="196850"/>
                </a:lnTo>
                <a:close/>
              </a:path>
              <a:path w="543560" h="457200">
                <a:moveTo>
                  <a:pt x="419503" y="189229"/>
                </a:moveTo>
                <a:lnTo>
                  <a:pt x="380698" y="189229"/>
                </a:lnTo>
                <a:lnTo>
                  <a:pt x="399494" y="234950"/>
                </a:lnTo>
                <a:lnTo>
                  <a:pt x="419163" y="234950"/>
                </a:lnTo>
                <a:lnTo>
                  <a:pt x="416766" y="231139"/>
                </a:lnTo>
                <a:lnTo>
                  <a:pt x="409402" y="214629"/>
                </a:lnTo>
                <a:lnTo>
                  <a:pt x="408432" y="201929"/>
                </a:lnTo>
                <a:lnTo>
                  <a:pt x="410390" y="194310"/>
                </a:lnTo>
                <a:lnTo>
                  <a:pt x="411813" y="191770"/>
                </a:lnTo>
                <a:lnTo>
                  <a:pt x="420136" y="191770"/>
                </a:lnTo>
                <a:lnTo>
                  <a:pt x="419503" y="189229"/>
                </a:lnTo>
                <a:close/>
              </a:path>
              <a:path w="543560" h="457200">
                <a:moveTo>
                  <a:pt x="100282" y="196850"/>
                </a:moveTo>
                <a:lnTo>
                  <a:pt x="86439" y="196850"/>
                </a:lnTo>
                <a:lnTo>
                  <a:pt x="86439" y="212089"/>
                </a:lnTo>
                <a:lnTo>
                  <a:pt x="100282" y="212089"/>
                </a:lnTo>
                <a:lnTo>
                  <a:pt x="100282" y="196850"/>
                </a:lnTo>
                <a:close/>
              </a:path>
              <a:path w="543560" h="457200">
                <a:moveTo>
                  <a:pt x="247094" y="0"/>
                </a:moveTo>
                <a:lnTo>
                  <a:pt x="233154" y="3810"/>
                </a:lnTo>
                <a:lnTo>
                  <a:pt x="221678" y="11429"/>
                </a:lnTo>
                <a:lnTo>
                  <a:pt x="213893" y="22860"/>
                </a:lnTo>
                <a:lnTo>
                  <a:pt x="211026" y="36829"/>
                </a:lnTo>
                <a:lnTo>
                  <a:pt x="212627" y="46989"/>
                </a:lnTo>
                <a:lnTo>
                  <a:pt x="217074" y="57150"/>
                </a:lnTo>
                <a:lnTo>
                  <a:pt x="223831" y="64770"/>
                </a:lnTo>
                <a:lnTo>
                  <a:pt x="232362" y="69850"/>
                </a:lnTo>
                <a:lnTo>
                  <a:pt x="231473" y="69850"/>
                </a:lnTo>
                <a:lnTo>
                  <a:pt x="220575" y="93979"/>
                </a:lnTo>
                <a:lnTo>
                  <a:pt x="216106" y="128270"/>
                </a:lnTo>
                <a:lnTo>
                  <a:pt x="214399" y="161289"/>
                </a:lnTo>
                <a:lnTo>
                  <a:pt x="211788" y="182879"/>
                </a:lnTo>
                <a:lnTo>
                  <a:pt x="204422" y="190500"/>
                </a:lnTo>
                <a:lnTo>
                  <a:pt x="205311" y="200660"/>
                </a:lnTo>
                <a:lnTo>
                  <a:pt x="313718" y="200660"/>
                </a:lnTo>
                <a:lnTo>
                  <a:pt x="297878" y="190500"/>
                </a:lnTo>
                <a:lnTo>
                  <a:pt x="268325" y="175260"/>
                </a:lnTo>
                <a:lnTo>
                  <a:pt x="247856" y="166370"/>
                </a:lnTo>
                <a:lnTo>
                  <a:pt x="249507" y="166370"/>
                </a:lnTo>
                <a:lnTo>
                  <a:pt x="243455" y="152400"/>
                </a:lnTo>
                <a:lnTo>
                  <a:pt x="241093" y="143510"/>
                </a:lnTo>
                <a:lnTo>
                  <a:pt x="242113" y="138429"/>
                </a:lnTo>
                <a:lnTo>
                  <a:pt x="246205" y="133350"/>
                </a:lnTo>
                <a:lnTo>
                  <a:pt x="295494" y="133350"/>
                </a:lnTo>
                <a:lnTo>
                  <a:pt x="271605" y="118110"/>
                </a:lnTo>
                <a:lnTo>
                  <a:pt x="264731" y="110489"/>
                </a:lnTo>
                <a:lnTo>
                  <a:pt x="250332" y="93979"/>
                </a:lnTo>
                <a:lnTo>
                  <a:pt x="241458" y="78739"/>
                </a:lnTo>
                <a:lnTo>
                  <a:pt x="251158" y="74929"/>
                </a:lnTo>
                <a:lnTo>
                  <a:pt x="242141" y="72389"/>
                </a:lnTo>
                <a:lnTo>
                  <a:pt x="247094" y="72389"/>
                </a:lnTo>
                <a:lnTo>
                  <a:pt x="261034" y="69850"/>
                </a:lnTo>
                <a:lnTo>
                  <a:pt x="272510" y="62229"/>
                </a:lnTo>
                <a:lnTo>
                  <a:pt x="280294" y="50800"/>
                </a:lnTo>
                <a:lnTo>
                  <a:pt x="283162" y="36829"/>
                </a:lnTo>
                <a:lnTo>
                  <a:pt x="280294" y="22860"/>
                </a:lnTo>
                <a:lnTo>
                  <a:pt x="272510" y="11429"/>
                </a:lnTo>
                <a:lnTo>
                  <a:pt x="261034" y="3810"/>
                </a:lnTo>
                <a:lnTo>
                  <a:pt x="247094" y="0"/>
                </a:lnTo>
                <a:close/>
              </a:path>
              <a:path w="543560" h="457200">
                <a:moveTo>
                  <a:pt x="420136" y="191770"/>
                </a:moveTo>
                <a:lnTo>
                  <a:pt x="411813" y="191770"/>
                </a:lnTo>
                <a:lnTo>
                  <a:pt x="416766" y="199389"/>
                </a:lnTo>
                <a:lnTo>
                  <a:pt x="421719" y="198120"/>
                </a:lnTo>
                <a:lnTo>
                  <a:pt x="420136" y="191770"/>
                </a:lnTo>
                <a:close/>
              </a:path>
              <a:path w="543560" h="457200">
                <a:moveTo>
                  <a:pt x="295494" y="133350"/>
                </a:moveTo>
                <a:lnTo>
                  <a:pt x="246205" y="133350"/>
                </a:lnTo>
                <a:lnTo>
                  <a:pt x="332311" y="195579"/>
                </a:lnTo>
                <a:lnTo>
                  <a:pt x="333200" y="189229"/>
                </a:lnTo>
                <a:lnTo>
                  <a:pt x="337264" y="182879"/>
                </a:lnTo>
                <a:lnTo>
                  <a:pt x="341328" y="177800"/>
                </a:lnTo>
                <a:lnTo>
                  <a:pt x="352038" y="177800"/>
                </a:lnTo>
                <a:lnTo>
                  <a:pt x="353647" y="172720"/>
                </a:lnTo>
                <a:lnTo>
                  <a:pt x="355298" y="172720"/>
                </a:lnTo>
                <a:lnTo>
                  <a:pt x="348694" y="171450"/>
                </a:lnTo>
                <a:lnTo>
                  <a:pt x="349583" y="170179"/>
                </a:lnTo>
                <a:lnTo>
                  <a:pt x="351234" y="168910"/>
                </a:lnTo>
                <a:lnTo>
                  <a:pt x="295494" y="133350"/>
                </a:lnTo>
                <a:close/>
              </a:path>
              <a:path w="543560" h="457200">
                <a:moveTo>
                  <a:pt x="362664" y="165100"/>
                </a:moveTo>
                <a:lnTo>
                  <a:pt x="355298" y="172720"/>
                </a:lnTo>
                <a:lnTo>
                  <a:pt x="353647" y="172720"/>
                </a:lnTo>
                <a:lnTo>
                  <a:pt x="362664" y="176529"/>
                </a:lnTo>
                <a:lnTo>
                  <a:pt x="372443" y="180339"/>
                </a:lnTo>
                <a:lnTo>
                  <a:pt x="360251" y="187960"/>
                </a:lnTo>
                <a:lnTo>
                  <a:pt x="361013" y="190500"/>
                </a:lnTo>
                <a:lnTo>
                  <a:pt x="370792" y="191770"/>
                </a:lnTo>
                <a:lnTo>
                  <a:pt x="378285" y="191770"/>
                </a:lnTo>
                <a:lnTo>
                  <a:pt x="380698" y="189229"/>
                </a:lnTo>
                <a:lnTo>
                  <a:pt x="419503" y="189229"/>
                </a:lnTo>
                <a:lnTo>
                  <a:pt x="418236" y="184150"/>
                </a:lnTo>
                <a:lnTo>
                  <a:pt x="418623" y="171450"/>
                </a:lnTo>
                <a:lnTo>
                  <a:pt x="418865" y="170179"/>
                </a:lnTo>
                <a:lnTo>
                  <a:pt x="371681" y="170179"/>
                </a:lnTo>
                <a:lnTo>
                  <a:pt x="362664" y="165100"/>
                </a:lnTo>
                <a:close/>
              </a:path>
              <a:path w="543560" h="457200">
                <a:moveTo>
                  <a:pt x="161750" y="165100"/>
                </a:moveTo>
                <a:lnTo>
                  <a:pt x="147907" y="165100"/>
                </a:lnTo>
                <a:lnTo>
                  <a:pt x="147907" y="182879"/>
                </a:lnTo>
                <a:lnTo>
                  <a:pt x="161750" y="182879"/>
                </a:lnTo>
                <a:lnTo>
                  <a:pt x="161750" y="165100"/>
                </a:lnTo>
                <a:close/>
              </a:path>
              <a:path w="543560" h="457200">
                <a:moveTo>
                  <a:pt x="352038" y="177800"/>
                </a:moveTo>
                <a:lnTo>
                  <a:pt x="341328" y="177800"/>
                </a:lnTo>
                <a:lnTo>
                  <a:pt x="351234" y="180339"/>
                </a:lnTo>
                <a:lnTo>
                  <a:pt x="352038" y="177800"/>
                </a:lnTo>
                <a:close/>
              </a:path>
              <a:path w="543560" h="457200">
                <a:moveTo>
                  <a:pt x="396319" y="146050"/>
                </a:moveTo>
                <a:lnTo>
                  <a:pt x="387969" y="149860"/>
                </a:lnTo>
                <a:lnTo>
                  <a:pt x="379999" y="157479"/>
                </a:lnTo>
                <a:lnTo>
                  <a:pt x="374030" y="166370"/>
                </a:lnTo>
                <a:lnTo>
                  <a:pt x="371681" y="170179"/>
                </a:lnTo>
                <a:lnTo>
                  <a:pt x="418865" y="170179"/>
                </a:lnTo>
                <a:lnTo>
                  <a:pt x="420074" y="163829"/>
                </a:lnTo>
                <a:lnTo>
                  <a:pt x="410162" y="163829"/>
                </a:lnTo>
                <a:lnTo>
                  <a:pt x="407749" y="147320"/>
                </a:lnTo>
                <a:lnTo>
                  <a:pt x="396319" y="146050"/>
                </a:lnTo>
                <a:close/>
              </a:path>
              <a:path w="543560" h="457200">
                <a:moveTo>
                  <a:pt x="421719" y="158750"/>
                </a:moveTo>
                <a:lnTo>
                  <a:pt x="415115" y="158750"/>
                </a:lnTo>
                <a:lnTo>
                  <a:pt x="410162" y="163829"/>
                </a:lnTo>
                <a:lnTo>
                  <a:pt x="420074" y="163829"/>
                </a:lnTo>
                <a:lnTo>
                  <a:pt x="420558" y="161289"/>
                </a:lnTo>
                <a:lnTo>
                  <a:pt x="421719" y="15875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51">
            <a:extLst>
              <a:ext uri="{FF2B5EF4-FFF2-40B4-BE49-F238E27FC236}">
                <a16:creationId xmlns:a16="http://schemas.microsoft.com/office/drawing/2014/main" id="{5C365E2C-95C6-43D6-A875-9E81D109166E}"/>
              </a:ext>
            </a:extLst>
          </p:cNvPr>
          <p:cNvSpPr/>
          <p:nvPr/>
        </p:nvSpPr>
        <p:spPr>
          <a:xfrm>
            <a:off x="6908164" y="1340657"/>
            <a:ext cx="47244" cy="50291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52">
            <a:extLst>
              <a:ext uri="{FF2B5EF4-FFF2-40B4-BE49-F238E27FC236}">
                <a16:creationId xmlns:a16="http://schemas.microsoft.com/office/drawing/2014/main" id="{12FE9195-9002-4B8C-BD0A-74FB16A8711F}"/>
              </a:ext>
            </a:extLst>
          </p:cNvPr>
          <p:cNvSpPr/>
          <p:nvPr/>
        </p:nvSpPr>
        <p:spPr>
          <a:xfrm>
            <a:off x="6841235" y="1088740"/>
            <a:ext cx="149200" cy="11582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56">
            <a:extLst>
              <a:ext uri="{FF2B5EF4-FFF2-40B4-BE49-F238E27FC236}">
                <a16:creationId xmlns:a16="http://schemas.microsoft.com/office/drawing/2014/main" id="{508AACAA-2E15-4569-A097-5DEB0DE09B75}"/>
              </a:ext>
            </a:extLst>
          </p:cNvPr>
          <p:cNvSpPr/>
          <p:nvPr/>
        </p:nvSpPr>
        <p:spPr>
          <a:xfrm>
            <a:off x="7119809" y="5454873"/>
            <a:ext cx="582295" cy="552450"/>
          </a:xfrm>
          <a:custGeom>
            <a:avLst/>
            <a:gdLst/>
            <a:ahLst/>
            <a:cxnLst/>
            <a:rect l="l" t="t" r="r" b="b"/>
            <a:pathLst>
              <a:path w="582295" h="552450">
                <a:moveTo>
                  <a:pt x="379674" y="515620"/>
                </a:moveTo>
                <a:lnTo>
                  <a:pt x="228671" y="515620"/>
                </a:lnTo>
                <a:lnTo>
                  <a:pt x="221581" y="516890"/>
                </a:lnTo>
                <a:lnTo>
                  <a:pt x="215765" y="520700"/>
                </a:lnTo>
                <a:lnTo>
                  <a:pt x="211830" y="527050"/>
                </a:lnTo>
                <a:lnTo>
                  <a:pt x="210383" y="534670"/>
                </a:lnTo>
                <a:lnTo>
                  <a:pt x="211830" y="542290"/>
                </a:lnTo>
                <a:lnTo>
                  <a:pt x="215765" y="547370"/>
                </a:lnTo>
                <a:lnTo>
                  <a:pt x="221581" y="551180"/>
                </a:lnTo>
                <a:lnTo>
                  <a:pt x="228671" y="552450"/>
                </a:lnTo>
                <a:lnTo>
                  <a:pt x="379674" y="552450"/>
                </a:lnTo>
                <a:lnTo>
                  <a:pt x="386764" y="551180"/>
                </a:lnTo>
                <a:lnTo>
                  <a:pt x="392580" y="547370"/>
                </a:lnTo>
                <a:lnTo>
                  <a:pt x="396515" y="542290"/>
                </a:lnTo>
                <a:lnTo>
                  <a:pt x="397962" y="534670"/>
                </a:lnTo>
                <a:lnTo>
                  <a:pt x="396515" y="527050"/>
                </a:lnTo>
                <a:lnTo>
                  <a:pt x="392580" y="520700"/>
                </a:lnTo>
                <a:lnTo>
                  <a:pt x="386764" y="516890"/>
                </a:lnTo>
                <a:lnTo>
                  <a:pt x="379674" y="515620"/>
                </a:lnTo>
                <a:close/>
              </a:path>
              <a:path w="582295" h="552450">
                <a:moveTo>
                  <a:pt x="351480" y="407670"/>
                </a:moveTo>
                <a:lnTo>
                  <a:pt x="256738" y="407670"/>
                </a:lnTo>
                <a:lnTo>
                  <a:pt x="256738" y="515620"/>
                </a:lnTo>
                <a:lnTo>
                  <a:pt x="351480" y="515620"/>
                </a:lnTo>
                <a:lnTo>
                  <a:pt x="351480" y="407670"/>
                </a:lnTo>
                <a:close/>
              </a:path>
              <a:path w="582295" h="552450">
                <a:moveTo>
                  <a:pt x="466004" y="407670"/>
                </a:moveTo>
                <a:lnTo>
                  <a:pt x="351861" y="407670"/>
                </a:lnTo>
                <a:lnTo>
                  <a:pt x="523311" y="482600"/>
                </a:lnTo>
                <a:lnTo>
                  <a:pt x="529524" y="485140"/>
                </a:lnTo>
                <a:lnTo>
                  <a:pt x="548330" y="494030"/>
                </a:lnTo>
                <a:lnTo>
                  <a:pt x="556918" y="496570"/>
                </a:lnTo>
                <a:lnTo>
                  <a:pt x="565411" y="495300"/>
                </a:lnTo>
                <a:lnTo>
                  <a:pt x="573047" y="492760"/>
                </a:lnTo>
                <a:lnTo>
                  <a:pt x="579064" y="485140"/>
                </a:lnTo>
                <a:lnTo>
                  <a:pt x="581743" y="477520"/>
                </a:lnTo>
                <a:lnTo>
                  <a:pt x="581350" y="467360"/>
                </a:lnTo>
                <a:lnTo>
                  <a:pt x="577814" y="459740"/>
                </a:lnTo>
                <a:lnTo>
                  <a:pt x="571063" y="453390"/>
                </a:lnTo>
                <a:lnTo>
                  <a:pt x="466004" y="407670"/>
                </a:lnTo>
                <a:close/>
              </a:path>
              <a:path w="582295" h="552450">
                <a:moveTo>
                  <a:pt x="27249" y="149860"/>
                </a:moveTo>
                <a:lnTo>
                  <a:pt x="21788" y="149860"/>
                </a:lnTo>
                <a:lnTo>
                  <a:pt x="10207" y="153670"/>
                </a:lnTo>
                <a:lnTo>
                  <a:pt x="2103" y="163830"/>
                </a:lnTo>
                <a:lnTo>
                  <a:pt x="0" y="176530"/>
                </a:lnTo>
                <a:lnTo>
                  <a:pt x="6421" y="189230"/>
                </a:lnTo>
                <a:lnTo>
                  <a:pt x="129738" y="314960"/>
                </a:lnTo>
                <a:lnTo>
                  <a:pt x="182655" y="369570"/>
                </a:lnTo>
                <a:lnTo>
                  <a:pt x="200350" y="387350"/>
                </a:lnTo>
                <a:lnTo>
                  <a:pt x="208986" y="397510"/>
                </a:lnTo>
                <a:lnTo>
                  <a:pt x="213558" y="401320"/>
                </a:lnTo>
                <a:lnTo>
                  <a:pt x="221956" y="406400"/>
                </a:lnTo>
                <a:lnTo>
                  <a:pt x="241704" y="408940"/>
                </a:lnTo>
                <a:lnTo>
                  <a:pt x="251531" y="407670"/>
                </a:lnTo>
                <a:lnTo>
                  <a:pt x="466004" y="407670"/>
                </a:lnTo>
                <a:lnTo>
                  <a:pt x="433903" y="393700"/>
                </a:lnTo>
                <a:lnTo>
                  <a:pt x="418018" y="387350"/>
                </a:lnTo>
                <a:lnTo>
                  <a:pt x="370530" y="367030"/>
                </a:lnTo>
                <a:lnTo>
                  <a:pt x="356737" y="363220"/>
                </a:lnTo>
                <a:lnTo>
                  <a:pt x="342193" y="361950"/>
                </a:lnTo>
                <a:lnTo>
                  <a:pt x="238958" y="361950"/>
                </a:lnTo>
                <a:lnTo>
                  <a:pt x="134003" y="254000"/>
                </a:lnTo>
                <a:lnTo>
                  <a:pt x="63952" y="182880"/>
                </a:lnTo>
                <a:lnTo>
                  <a:pt x="51109" y="170180"/>
                </a:lnTo>
                <a:lnTo>
                  <a:pt x="38171" y="156210"/>
                </a:lnTo>
                <a:lnTo>
                  <a:pt x="33091" y="151130"/>
                </a:lnTo>
                <a:lnTo>
                  <a:pt x="27249" y="149860"/>
                </a:lnTo>
                <a:close/>
              </a:path>
              <a:path w="582295" h="552450">
                <a:moveTo>
                  <a:pt x="506549" y="337820"/>
                </a:moveTo>
                <a:lnTo>
                  <a:pt x="392628" y="337820"/>
                </a:lnTo>
                <a:lnTo>
                  <a:pt x="517088" y="392430"/>
                </a:lnTo>
                <a:lnTo>
                  <a:pt x="525676" y="394970"/>
                </a:lnTo>
                <a:lnTo>
                  <a:pt x="534169" y="394970"/>
                </a:lnTo>
                <a:lnTo>
                  <a:pt x="541805" y="391160"/>
                </a:lnTo>
                <a:lnTo>
                  <a:pt x="547822" y="383540"/>
                </a:lnTo>
                <a:lnTo>
                  <a:pt x="550501" y="375920"/>
                </a:lnTo>
                <a:lnTo>
                  <a:pt x="550108" y="367030"/>
                </a:lnTo>
                <a:lnTo>
                  <a:pt x="546572" y="358140"/>
                </a:lnTo>
                <a:lnTo>
                  <a:pt x="539821" y="353060"/>
                </a:lnTo>
                <a:lnTo>
                  <a:pt x="512411" y="340360"/>
                </a:lnTo>
                <a:lnTo>
                  <a:pt x="506549" y="337820"/>
                </a:lnTo>
                <a:close/>
              </a:path>
              <a:path w="582295" h="552450">
                <a:moveTo>
                  <a:pt x="174188" y="186690"/>
                </a:moveTo>
                <a:lnTo>
                  <a:pt x="168600" y="186690"/>
                </a:lnTo>
                <a:lnTo>
                  <a:pt x="157039" y="191770"/>
                </a:lnTo>
                <a:lnTo>
                  <a:pt x="148978" y="200660"/>
                </a:lnTo>
                <a:lnTo>
                  <a:pt x="146919" y="213360"/>
                </a:lnTo>
                <a:lnTo>
                  <a:pt x="153360" y="226060"/>
                </a:lnTo>
                <a:lnTo>
                  <a:pt x="238069" y="312420"/>
                </a:lnTo>
                <a:lnTo>
                  <a:pt x="246056" y="321310"/>
                </a:lnTo>
                <a:lnTo>
                  <a:pt x="254436" y="328930"/>
                </a:lnTo>
                <a:lnTo>
                  <a:pt x="263840" y="335280"/>
                </a:lnTo>
                <a:lnTo>
                  <a:pt x="274899" y="337820"/>
                </a:lnTo>
                <a:lnTo>
                  <a:pt x="290329" y="339090"/>
                </a:lnTo>
                <a:lnTo>
                  <a:pt x="321190" y="339090"/>
                </a:lnTo>
                <a:lnTo>
                  <a:pt x="336621" y="337820"/>
                </a:lnTo>
                <a:lnTo>
                  <a:pt x="506549" y="337820"/>
                </a:lnTo>
                <a:lnTo>
                  <a:pt x="421463" y="300990"/>
                </a:lnTo>
                <a:lnTo>
                  <a:pt x="402790" y="293370"/>
                </a:lnTo>
                <a:lnTo>
                  <a:pt x="393263" y="292100"/>
                </a:lnTo>
                <a:lnTo>
                  <a:pt x="282011" y="292100"/>
                </a:lnTo>
                <a:lnTo>
                  <a:pt x="233608" y="242570"/>
                </a:lnTo>
                <a:lnTo>
                  <a:pt x="185110" y="194310"/>
                </a:lnTo>
                <a:lnTo>
                  <a:pt x="180030" y="187960"/>
                </a:lnTo>
                <a:lnTo>
                  <a:pt x="174188" y="186690"/>
                </a:lnTo>
                <a:close/>
              </a:path>
              <a:path w="582295" h="552450">
                <a:moveTo>
                  <a:pt x="496865" y="201930"/>
                </a:moveTo>
                <a:lnTo>
                  <a:pt x="445587" y="201930"/>
                </a:lnTo>
                <a:lnTo>
                  <a:pt x="447238" y="204470"/>
                </a:lnTo>
                <a:lnTo>
                  <a:pt x="448127" y="204470"/>
                </a:lnTo>
                <a:lnTo>
                  <a:pt x="448889" y="205740"/>
                </a:lnTo>
                <a:lnTo>
                  <a:pt x="471050" y="251460"/>
                </a:lnTo>
                <a:lnTo>
                  <a:pt x="482417" y="297180"/>
                </a:lnTo>
                <a:lnTo>
                  <a:pt x="485483" y="306070"/>
                </a:lnTo>
                <a:lnTo>
                  <a:pt x="490942" y="313690"/>
                </a:lnTo>
                <a:lnTo>
                  <a:pt x="498330" y="317500"/>
                </a:lnTo>
                <a:lnTo>
                  <a:pt x="507182" y="317500"/>
                </a:lnTo>
                <a:lnTo>
                  <a:pt x="515776" y="314960"/>
                </a:lnTo>
                <a:lnTo>
                  <a:pt x="522025" y="308610"/>
                </a:lnTo>
                <a:lnTo>
                  <a:pt x="525488" y="300990"/>
                </a:lnTo>
                <a:lnTo>
                  <a:pt x="525724" y="290830"/>
                </a:lnTo>
                <a:lnTo>
                  <a:pt x="519678" y="260350"/>
                </a:lnTo>
                <a:lnTo>
                  <a:pt x="510595" y="231140"/>
                </a:lnTo>
                <a:lnTo>
                  <a:pt x="498346" y="204470"/>
                </a:lnTo>
                <a:lnTo>
                  <a:pt x="496865" y="201930"/>
                </a:lnTo>
                <a:close/>
              </a:path>
              <a:path w="582295" h="552450">
                <a:moveTo>
                  <a:pt x="474306" y="166370"/>
                </a:moveTo>
                <a:lnTo>
                  <a:pt x="423489" y="166370"/>
                </a:lnTo>
                <a:lnTo>
                  <a:pt x="423489" y="177800"/>
                </a:lnTo>
                <a:lnTo>
                  <a:pt x="434411" y="177800"/>
                </a:lnTo>
                <a:lnTo>
                  <a:pt x="434411" y="187960"/>
                </a:lnTo>
                <a:lnTo>
                  <a:pt x="423489" y="187960"/>
                </a:lnTo>
                <a:lnTo>
                  <a:pt x="423489" y="199390"/>
                </a:lnTo>
                <a:lnTo>
                  <a:pt x="309443" y="199390"/>
                </a:lnTo>
                <a:lnTo>
                  <a:pt x="309443" y="281940"/>
                </a:lnTo>
                <a:lnTo>
                  <a:pt x="395041" y="281940"/>
                </a:lnTo>
                <a:lnTo>
                  <a:pt x="404512" y="283210"/>
                </a:lnTo>
                <a:lnTo>
                  <a:pt x="423169" y="290830"/>
                </a:lnTo>
                <a:lnTo>
                  <a:pt x="431998" y="294640"/>
                </a:lnTo>
                <a:lnTo>
                  <a:pt x="436570" y="297180"/>
                </a:lnTo>
                <a:lnTo>
                  <a:pt x="441015" y="298450"/>
                </a:lnTo>
                <a:lnTo>
                  <a:pt x="445587" y="300990"/>
                </a:lnTo>
                <a:lnTo>
                  <a:pt x="445587" y="201930"/>
                </a:lnTo>
                <a:lnTo>
                  <a:pt x="496865" y="201930"/>
                </a:lnTo>
                <a:lnTo>
                  <a:pt x="482798" y="177800"/>
                </a:lnTo>
                <a:lnTo>
                  <a:pt x="474306" y="166370"/>
                </a:lnTo>
                <a:close/>
              </a:path>
              <a:path w="582295" h="552450">
                <a:moveTo>
                  <a:pt x="227274" y="73660"/>
                </a:moveTo>
                <a:lnTo>
                  <a:pt x="223210" y="73660"/>
                </a:lnTo>
                <a:lnTo>
                  <a:pt x="214447" y="74930"/>
                </a:lnTo>
                <a:lnTo>
                  <a:pt x="201366" y="74930"/>
                </a:lnTo>
                <a:lnTo>
                  <a:pt x="202128" y="76200"/>
                </a:lnTo>
                <a:lnTo>
                  <a:pt x="202636" y="76200"/>
                </a:lnTo>
                <a:lnTo>
                  <a:pt x="210891" y="81280"/>
                </a:lnTo>
                <a:lnTo>
                  <a:pt x="212923" y="85090"/>
                </a:lnTo>
                <a:lnTo>
                  <a:pt x="209367" y="88900"/>
                </a:lnTo>
                <a:lnTo>
                  <a:pt x="207081" y="95250"/>
                </a:lnTo>
                <a:lnTo>
                  <a:pt x="207081" y="102870"/>
                </a:lnTo>
                <a:lnTo>
                  <a:pt x="207462" y="105410"/>
                </a:lnTo>
                <a:lnTo>
                  <a:pt x="221043" y="157480"/>
                </a:lnTo>
                <a:lnTo>
                  <a:pt x="235878" y="184150"/>
                </a:lnTo>
                <a:lnTo>
                  <a:pt x="261905" y="194310"/>
                </a:lnTo>
                <a:lnTo>
                  <a:pt x="308554" y="195580"/>
                </a:lnTo>
                <a:lnTo>
                  <a:pt x="308935" y="196850"/>
                </a:lnTo>
                <a:lnTo>
                  <a:pt x="308681" y="198120"/>
                </a:lnTo>
                <a:lnTo>
                  <a:pt x="309316" y="198120"/>
                </a:lnTo>
                <a:lnTo>
                  <a:pt x="309316" y="199390"/>
                </a:lnTo>
                <a:lnTo>
                  <a:pt x="413329" y="199390"/>
                </a:lnTo>
                <a:lnTo>
                  <a:pt x="413329" y="187960"/>
                </a:lnTo>
                <a:lnTo>
                  <a:pt x="402407" y="187960"/>
                </a:lnTo>
                <a:lnTo>
                  <a:pt x="402407" y="177800"/>
                </a:lnTo>
                <a:lnTo>
                  <a:pt x="413329" y="177800"/>
                </a:lnTo>
                <a:lnTo>
                  <a:pt x="413329" y="166370"/>
                </a:lnTo>
                <a:lnTo>
                  <a:pt x="474306" y="166370"/>
                </a:lnTo>
                <a:lnTo>
                  <a:pt x="471475" y="162560"/>
                </a:lnTo>
                <a:lnTo>
                  <a:pt x="458985" y="148590"/>
                </a:lnTo>
                <a:lnTo>
                  <a:pt x="449209" y="138430"/>
                </a:lnTo>
                <a:lnTo>
                  <a:pt x="277024" y="138430"/>
                </a:lnTo>
                <a:lnTo>
                  <a:pt x="265676" y="130810"/>
                </a:lnTo>
                <a:lnTo>
                  <a:pt x="257923" y="118110"/>
                </a:lnTo>
                <a:lnTo>
                  <a:pt x="253182" y="106680"/>
                </a:lnTo>
                <a:lnTo>
                  <a:pt x="255214" y="102870"/>
                </a:lnTo>
                <a:lnTo>
                  <a:pt x="255468" y="101600"/>
                </a:lnTo>
                <a:lnTo>
                  <a:pt x="258770" y="96520"/>
                </a:lnTo>
                <a:lnTo>
                  <a:pt x="259659" y="93980"/>
                </a:lnTo>
                <a:lnTo>
                  <a:pt x="259024" y="92710"/>
                </a:lnTo>
                <a:lnTo>
                  <a:pt x="257500" y="91440"/>
                </a:lnTo>
                <a:lnTo>
                  <a:pt x="242514" y="82550"/>
                </a:lnTo>
                <a:lnTo>
                  <a:pt x="240990" y="81280"/>
                </a:lnTo>
                <a:lnTo>
                  <a:pt x="239085" y="81280"/>
                </a:lnTo>
                <a:lnTo>
                  <a:pt x="237180" y="80010"/>
                </a:lnTo>
                <a:lnTo>
                  <a:pt x="227274" y="73660"/>
                </a:lnTo>
                <a:close/>
              </a:path>
              <a:path w="582295" h="552450">
                <a:moveTo>
                  <a:pt x="122245" y="74930"/>
                </a:moveTo>
                <a:lnTo>
                  <a:pt x="99601" y="80010"/>
                </a:lnTo>
                <a:lnTo>
                  <a:pt x="81113" y="92710"/>
                </a:lnTo>
                <a:lnTo>
                  <a:pt x="68649" y="110490"/>
                </a:lnTo>
                <a:lnTo>
                  <a:pt x="64079" y="134620"/>
                </a:lnTo>
                <a:lnTo>
                  <a:pt x="68649" y="157480"/>
                </a:lnTo>
                <a:lnTo>
                  <a:pt x="81113" y="176530"/>
                </a:lnTo>
                <a:lnTo>
                  <a:pt x="99601" y="189230"/>
                </a:lnTo>
                <a:lnTo>
                  <a:pt x="122245" y="193040"/>
                </a:lnTo>
                <a:lnTo>
                  <a:pt x="144889" y="189230"/>
                </a:lnTo>
                <a:lnTo>
                  <a:pt x="163377" y="176530"/>
                </a:lnTo>
                <a:lnTo>
                  <a:pt x="175841" y="157480"/>
                </a:lnTo>
                <a:lnTo>
                  <a:pt x="180411" y="134620"/>
                </a:lnTo>
                <a:lnTo>
                  <a:pt x="175841" y="110490"/>
                </a:lnTo>
                <a:lnTo>
                  <a:pt x="163377" y="92710"/>
                </a:lnTo>
                <a:lnTo>
                  <a:pt x="144889" y="80010"/>
                </a:lnTo>
                <a:lnTo>
                  <a:pt x="122245" y="74930"/>
                </a:lnTo>
                <a:close/>
              </a:path>
              <a:path w="582295" h="552450">
                <a:moveTo>
                  <a:pt x="413710" y="114300"/>
                </a:moveTo>
                <a:lnTo>
                  <a:pt x="343860" y="114300"/>
                </a:lnTo>
                <a:lnTo>
                  <a:pt x="332843" y="116840"/>
                </a:lnTo>
                <a:lnTo>
                  <a:pt x="324016" y="121920"/>
                </a:lnTo>
                <a:lnTo>
                  <a:pt x="312285" y="129540"/>
                </a:lnTo>
                <a:lnTo>
                  <a:pt x="292552" y="138430"/>
                </a:lnTo>
                <a:lnTo>
                  <a:pt x="449209" y="138430"/>
                </a:lnTo>
                <a:lnTo>
                  <a:pt x="445543" y="134620"/>
                </a:lnTo>
                <a:lnTo>
                  <a:pt x="431363" y="121920"/>
                </a:lnTo>
                <a:lnTo>
                  <a:pt x="426156" y="118110"/>
                </a:lnTo>
                <a:lnTo>
                  <a:pt x="420187" y="115570"/>
                </a:lnTo>
                <a:lnTo>
                  <a:pt x="413710" y="114300"/>
                </a:lnTo>
                <a:close/>
              </a:path>
              <a:path w="582295" h="552450">
                <a:moveTo>
                  <a:pt x="356941" y="38100"/>
                </a:moveTo>
                <a:lnTo>
                  <a:pt x="323540" y="38100"/>
                </a:lnTo>
                <a:lnTo>
                  <a:pt x="322016" y="43180"/>
                </a:lnTo>
                <a:lnTo>
                  <a:pt x="321127" y="48260"/>
                </a:lnTo>
                <a:lnTo>
                  <a:pt x="321127" y="53340"/>
                </a:lnTo>
                <a:lnTo>
                  <a:pt x="325435" y="76200"/>
                </a:lnTo>
                <a:lnTo>
                  <a:pt x="337208" y="93980"/>
                </a:lnTo>
                <a:lnTo>
                  <a:pt x="354720" y="106680"/>
                </a:lnTo>
                <a:lnTo>
                  <a:pt x="376245" y="110490"/>
                </a:lnTo>
                <a:lnTo>
                  <a:pt x="398103" y="106680"/>
                </a:lnTo>
                <a:lnTo>
                  <a:pt x="415853" y="93980"/>
                </a:lnTo>
                <a:lnTo>
                  <a:pt x="427769" y="76200"/>
                </a:lnTo>
                <a:lnTo>
                  <a:pt x="432125" y="54610"/>
                </a:lnTo>
                <a:lnTo>
                  <a:pt x="432125" y="50800"/>
                </a:lnTo>
                <a:lnTo>
                  <a:pt x="367990" y="50800"/>
                </a:lnTo>
                <a:lnTo>
                  <a:pt x="360497" y="45720"/>
                </a:lnTo>
                <a:lnTo>
                  <a:pt x="356941" y="38100"/>
                </a:lnTo>
                <a:close/>
              </a:path>
              <a:path w="582295" h="552450">
                <a:moveTo>
                  <a:pt x="196921" y="54610"/>
                </a:moveTo>
                <a:lnTo>
                  <a:pt x="191206" y="55880"/>
                </a:lnTo>
                <a:lnTo>
                  <a:pt x="185618" y="58420"/>
                </a:lnTo>
                <a:lnTo>
                  <a:pt x="182316" y="63500"/>
                </a:lnTo>
                <a:lnTo>
                  <a:pt x="183840" y="69850"/>
                </a:lnTo>
                <a:lnTo>
                  <a:pt x="185364" y="74930"/>
                </a:lnTo>
                <a:lnTo>
                  <a:pt x="191333" y="78740"/>
                </a:lnTo>
                <a:lnTo>
                  <a:pt x="197048" y="77470"/>
                </a:lnTo>
                <a:lnTo>
                  <a:pt x="198699" y="77470"/>
                </a:lnTo>
                <a:lnTo>
                  <a:pt x="200223" y="76200"/>
                </a:lnTo>
                <a:lnTo>
                  <a:pt x="201366" y="74930"/>
                </a:lnTo>
                <a:lnTo>
                  <a:pt x="192222" y="74930"/>
                </a:lnTo>
                <a:lnTo>
                  <a:pt x="188412" y="72390"/>
                </a:lnTo>
                <a:lnTo>
                  <a:pt x="186380" y="64770"/>
                </a:lnTo>
                <a:lnTo>
                  <a:pt x="188539" y="60960"/>
                </a:lnTo>
                <a:lnTo>
                  <a:pt x="192222" y="59690"/>
                </a:lnTo>
                <a:lnTo>
                  <a:pt x="196032" y="58420"/>
                </a:lnTo>
                <a:lnTo>
                  <a:pt x="202890" y="58420"/>
                </a:lnTo>
                <a:lnTo>
                  <a:pt x="196921" y="54610"/>
                </a:lnTo>
                <a:close/>
              </a:path>
              <a:path w="582295" h="552450">
                <a:moveTo>
                  <a:pt x="202890" y="58420"/>
                </a:moveTo>
                <a:lnTo>
                  <a:pt x="196032" y="58420"/>
                </a:lnTo>
                <a:lnTo>
                  <a:pt x="199842" y="60960"/>
                </a:lnTo>
                <a:lnTo>
                  <a:pt x="201874" y="68580"/>
                </a:lnTo>
                <a:lnTo>
                  <a:pt x="199715" y="72390"/>
                </a:lnTo>
                <a:lnTo>
                  <a:pt x="196032" y="73660"/>
                </a:lnTo>
                <a:lnTo>
                  <a:pt x="192222" y="74930"/>
                </a:lnTo>
                <a:lnTo>
                  <a:pt x="214447" y="74930"/>
                </a:lnTo>
                <a:lnTo>
                  <a:pt x="206065" y="69850"/>
                </a:lnTo>
                <a:lnTo>
                  <a:pt x="205684" y="69850"/>
                </a:lnTo>
                <a:lnTo>
                  <a:pt x="205049" y="68580"/>
                </a:lnTo>
                <a:lnTo>
                  <a:pt x="204541" y="68580"/>
                </a:lnTo>
                <a:lnTo>
                  <a:pt x="204922" y="67310"/>
                </a:lnTo>
                <a:lnTo>
                  <a:pt x="204922" y="66040"/>
                </a:lnTo>
                <a:lnTo>
                  <a:pt x="204414" y="63500"/>
                </a:lnTo>
                <a:lnTo>
                  <a:pt x="202890" y="58420"/>
                </a:lnTo>
                <a:close/>
              </a:path>
              <a:path w="582295" h="552450">
                <a:moveTo>
                  <a:pt x="196667" y="64770"/>
                </a:moveTo>
                <a:lnTo>
                  <a:pt x="195016" y="66040"/>
                </a:lnTo>
                <a:lnTo>
                  <a:pt x="193238" y="66040"/>
                </a:lnTo>
                <a:lnTo>
                  <a:pt x="192222" y="67310"/>
                </a:lnTo>
                <a:lnTo>
                  <a:pt x="192730" y="69850"/>
                </a:lnTo>
                <a:lnTo>
                  <a:pt x="193238" y="71120"/>
                </a:lnTo>
                <a:lnTo>
                  <a:pt x="195016" y="72390"/>
                </a:lnTo>
                <a:lnTo>
                  <a:pt x="198318" y="71120"/>
                </a:lnTo>
                <a:lnTo>
                  <a:pt x="199334" y="69850"/>
                </a:lnTo>
                <a:lnTo>
                  <a:pt x="198826" y="67310"/>
                </a:lnTo>
                <a:lnTo>
                  <a:pt x="198445" y="66040"/>
                </a:lnTo>
                <a:lnTo>
                  <a:pt x="196667" y="64770"/>
                </a:lnTo>
                <a:close/>
              </a:path>
              <a:path w="582295" h="552450">
                <a:moveTo>
                  <a:pt x="396565" y="36830"/>
                </a:moveTo>
                <a:lnTo>
                  <a:pt x="393009" y="44450"/>
                </a:lnTo>
                <a:lnTo>
                  <a:pt x="385516" y="50800"/>
                </a:lnTo>
                <a:lnTo>
                  <a:pt x="432125" y="50800"/>
                </a:lnTo>
                <a:lnTo>
                  <a:pt x="432125" y="48260"/>
                </a:lnTo>
                <a:lnTo>
                  <a:pt x="431236" y="43180"/>
                </a:lnTo>
                <a:lnTo>
                  <a:pt x="429585" y="38100"/>
                </a:lnTo>
                <a:lnTo>
                  <a:pt x="396565" y="38100"/>
                </a:lnTo>
                <a:lnTo>
                  <a:pt x="396565" y="36830"/>
                </a:lnTo>
                <a:close/>
              </a:path>
              <a:path w="582295" h="552450">
                <a:moveTo>
                  <a:pt x="382087" y="19050"/>
                </a:moveTo>
                <a:lnTo>
                  <a:pt x="371419" y="19050"/>
                </a:lnTo>
                <a:lnTo>
                  <a:pt x="367101" y="22860"/>
                </a:lnTo>
                <a:lnTo>
                  <a:pt x="367101" y="34290"/>
                </a:lnTo>
                <a:lnTo>
                  <a:pt x="371419" y="38100"/>
                </a:lnTo>
                <a:lnTo>
                  <a:pt x="382087" y="38100"/>
                </a:lnTo>
                <a:lnTo>
                  <a:pt x="386278" y="34290"/>
                </a:lnTo>
                <a:lnTo>
                  <a:pt x="386278" y="22860"/>
                </a:lnTo>
                <a:lnTo>
                  <a:pt x="382087" y="19050"/>
                </a:lnTo>
                <a:close/>
              </a:path>
              <a:path w="582295" h="552450">
                <a:moveTo>
                  <a:pt x="374721" y="0"/>
                </a:moveTo>
                <a:lnTo>
                  <a:pt x="361545" y="1270"/>
                </a:lnTo>
                <a:lnTo>
                  <a:pt x="349511" y="6350"/>
                </a:lnTo>
                <a:lnTo>
                  <a:pt x="339002" y="13970"/>
                </a:lnTo>
                <a:lnTo>
                  <a:pt x="330398" y="22860"/>
                </a:lnTo>
                <a:lnTo>
                  <a:pt x="354020" y="22860"/>
                </a:lnTo>
                <a:lnTo>
                  <a:pt x="357151" y="16510"/>
                </a:lnTo>
                <a:lnTo>
                  <a:pt x="361926" y="11430"/>
                </a:lnTo>
                <a:lnTo>
                  <a:pt x="367986" y="8890"/>
                </a:lnTo>
                <a:lnTo>
                  <a:pt x="374975" y="7620"/>
                </a:lnTo>
                <a:lnTo>
                  <a:pt x="402002" y="7620"/>
                </a:lnTo>
                <a:lnTo>
                  <a:pt x="400232" y="6350"/>
                </a:lnTo>
                <a:lnTo>
                  <a:pt x="388066" y="1270"/>
                </a:lnTo>
                <a:lnTo>
                  <a:pt x="374721" y="0"/>
                </a:lnTo>
                <a:close/>
              </a:path>
              <a:path w="582295" h="552450">
                <a:moveTo>
                  <a:pt x="402002" y="7620"/>
                </a:moveTo>
                <a:lnTo>
                  <a:pt x="374975" y="7620"/>
                </a:lnTo>
                <a:lnTo>
                  <a:pt x="381964" y="8890"/>
                </a:lnTo>
                <a:lnTo>
                  <a:pt x="388024" y="11430"/>
                </a:lnTo>
                <a:lnTo>
                  <a:pt x="392799" y="16510"/>
                </a:lnTo>
                <a:lnTo>
                  <a:pt x="395930" y="22860"/>
                </a:lnTo>
                <a:lnTo>
                  <a:pt x="419552" y="22860"/>
                </a:lnTo>
                <a:lnTo>
                  <a:pt x="410850" y="13970"/>
                </a:lnTo>
                <a:lnTo>
                  <a:pt x="402002" y="7620"/>
                </a:lnTo>
                <a:close/>
              </a:path>
            </a:pathLst>
          </a:custGeom>
          <a:solidFill>
            <a:srgbClr val="EC7C3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6" name="object 57">
            <a:extLst>
              <a:ext uri="{FF2B5EF4-FFF2-40B4-BE49-F238E27FC236}">
                <a16:creationId xmlns:a16="http://schemas.microsoft.com/office/drawing/2014/main" id="{EB9F1879-8933-4BD2-925D-E6CA1C308DAE}"/>
              </a:ext>
            </a:extLst>
          </p:cNvPr>
          <p:cNvSpPr/>
          <p:nvPr/>
        </p:nvSpPr>
        <p:spPr>
          <a:xfrm>
            <a:off x="8305800" y="4270753"/>
            <a:ext cx="367665" cy="516890"/>
          </a:xfrm>
          <a:custGeom>
            <a:avLst/>
            <a:gdLst/>
            <a:ahLst/>
            <a:cxnLst/>
            <a:rect l="l" t="t" r="r" b="b"/>
            <a:pathLst>
              <a:path w="367665" h="516889">
                <a:moveTo>
                  <a:pt x="34798" y="431291"/>
                </a:moveTo>
                <a:lnTo>
                  <a:pt x="17145" y="431291"/>
                </a:lnTo>
                <a:lnTo>
                  <a:pt x="17145" y="501522"/>
                </a:lnTo>
                <a:lnTo>
                  <a:pt x="18954" y="508277"/>
                </a:lnTo>
                <a:lnTo>
                  <a:pt x="23717" y="512984"/>
                </a:lnTo>
                <a:lnTo>
                  <a:pt x="30432" y="515739"/>
                </a:lnTo>
                <a:lnTo>
                  <a:pt x="38100" y="516635"/>
                </a:lnTo>
                <a:lnTo>
                  <a:pt x="361315" y="516635"/>
                </a:lnTo>
                <a:lnTo>
                  <a:pt x="367283" y="511936"/>
                </a:lnTo>
                <a:lnTo>
                  <a:pt x="367283" y="444626"/>
                </a:lnTo>
                <a:lnTo>
                  <a:pt x="57276" y="444626"/>
                </a:lnTo>
                <a:lnTo>
                  <a:pt x="50246" y="443132"/>
                </a:lnTo>
                <a:lnTo>
                  <a:pt x="43989" y="439531"/>
                </a:lnTo>
                <a:lnTo>
                  <a:pt x="38756" y="435143"/>
                </a:lnTo>
                <a:lnTo>
                  <a:pt x="34798" y="431291"/>
                </a:lnTo>
                <a:close/>
              </a:path>
              <a:path w="367665" h="516889">
                <a:moveTo>
                  <a:pt x="367283" y="392937"/>
                </a:moveTo>
                <a:lnTo>
                  <a:pt x="57276" y="392937"/>
                </a:lnTo>
                <a:lnTo>
                  <a:pt x="67232" y="395063"/>
                </a:lnTo>
                <a:lnTo>
                  <a:pt x="75390" y="400796"/>
                </a:lnTo>
                <a:lnTo>
                  <a:pt x="80904" y="409172"/>
                </a:lnTo>
                <a:lnTo>
                  <a:pt x="82930" y="419226"/>
                </a:lnTo>
                <a:lnTo>
                  <a:pt x="80904" y="429142"/>
                </a:lnTo>
                <a:lnTo>
                  <a:pt x="75390" y="437213"/>
                </a:lnTo>
                <a:lnTo>
                  <a:pt x="67232" y="442640"/>
                </a:lnTo>
                <a:lnTo>
                  <a:pt x="57276" y="444626"/>
                </a:lnTo>
                <a:lnTo>
                  <a:pt x="367283" y="444626"/>
                </a:lnTo>
                <a:lnTo>
                  <a:pt x="367283" y="392937"/>
                </a:lnTo>
                <a:close/>
              </a:path>
              <a:path w="367665" h="516889">
                <a:moveTo>
                  <a:pt x="49022" y="405129"/>
                </a:moveTo>
                <a:lnTo>
                  <a:pt x="47117" y="409320"/>
                </a:lnTo>
                <a:lnTo>
                  <a:pt x="6857" y="409320"/>
                </a:lnTo>
                <a:lnTo>
                  <a:pt x="6857" y="411225"/>
                </a:lnTo>
                <a:lnTo>
                  <a:pt x="6603" y="411225"/>
                </a:lnTo>
                <a:lnTo>
                  <a:pt x="6476" y="411987"/>
                </a:lnTo>
                <a:lnTo>
                  <a:pt x="2794" y="411987"/>
                </a:lnTo>
                <a:lnTo>
                  <a:pt x="0" y="413511"/>
                </a:lnTo>
                <a:lnTo>
                  <a:pt x="0" y="420623"/>
                </a:lnTo>
                <a:lnTo>
                  <a:pt x="2794" y="422147"/>
                </a:lnTo>
                <a:lnTo>
                  <a:pt x="47117" y="422147"/>
                </a:lnTo>
                <a:lnTo>
                  <a:pt x="49022" y="426465"/>
                </a:lnTo>
                <a:lnTo>
                  <a:pt x="52704" y="429005"/>
                </a:lnTo>
                <a:lnTo>
                  <a:pt x="63246" y="429005"/>
                </a:lnTo>
                <a:lnTo>
                  <a:pt x="68325" y="423417"/>
                </a:lnTo>
                <a:lnTo>
                  <a:pt x="68325" y="410971"/>
                </a:lnTo>
                <a:lnTo>
                  <a:pt x="63246" y="405637"/>
                </a:lnTo>
                <a:lnTo>
                  <a:pt x="52704" y="405637"/>
                </a:lnTo>
                <a:lnTo>
                  <a:pt x="49022" y="405129"/>
                </a:lnTo>
                <a:close/>
              </a:path>
              <a:path w="367665" h="516889">
                <a:moveTo>
                  <a:pt x="34798" y="115315"/>
                </a:moveTo>
                <a:lnTo>
                  <a:pt x="17145" y="115315"/>
                </a:lnTo>
                <a:lnTo>
                  <a:pt x="17145" y="405637"/>
                </a:lnTo>
                <a:lnTo>
                  <a:pt x="34798" y="405637"/>
                </a:lnTo>
                <a:lnTo>
                  <a:pt x="38756" y="400063"/>
                </a:lnTo>
                <a:lnTo>
                  <a:pt x="43989" y="396097"/>
                </a:lnTo>
                <a:lnTo>
                  <a:pt x="50246" y="393725"/>
                </a:lnTo>
                <a:lnTo>
                  <a:pt x="57276" y="392937"/>
                </a:lnTo>
                <a:lnTo>
                  <a:pt x="367283" y="392937"/>
                </a:lnTo>
                <a:lnTo>
                  <a:pt x="367283" y="350138"/>
                </a:lnTo>
                <a:lnTo>
                  <a:pt x="110998" y="350138"/>
                </a:lnTo>
                <a:lnTo>
                  <a:pt x="110998" y="341629"/>
                </a:lnTo>
                <a:lnTo>
                  <a:pt x="367283" y="341629"/>
                </a:lnTo>
                <a:lnTo>
                  <a:pt x="367283" y="332993"/>
                </a:lnTo>
                <a:lnTo>
                  <a:pt x="110998" y="332993"/>
                </a:lnTo>
                <a:lnTo>
                  <a:pt x="110998" y="324484"/>
                </a:lnTo>
                <a:lnTo>
                  <a:pt x="367283" y="324484"/>
                </a:lnTo>
                <a:lnTo>
                  <a:pt x="367283" y="311657"/>
                </a:lnTo>
                <a:lnTo>
                  <a:pt x="113665" y="311657"/>
                </a:lnTo>
                <a:lnTo>
                  <a:pt x="119987" y="290169"/>
                </a:lnTo>
                <a:lnTo>
                  <a:pt x="142061" y="252382"/>
                </a:lnTo>
                <a:lnTo>
                  <a:pt x="175895" y="226948"/>
                </a:lnTo>
                <a:lnTo>
                  <a:pt x="176910" y="226821"/>
                </a:lnTo>
                <a:lnTo>
                  <a:pt x="367283" y="226821"/>
                </a:lnTo>
                <a:lnTo>
                  <a:pt x="367283" y="225551"/>
                </a:lnTo>
                <a:lnTo>
                  <a:pt x="196088" y="225551"/>
                </a:lnTo>
                <a:lnTo>
                  <a:pt x="183326" y="222910"/>
                </a:lnTo>
                <a:lnTo>
                  <a:pt x="172958" y="215852"/>
                </a:lnTo>
                <a:lnTo>
                  <a:pt x="165994" y="205388"/>
                </a:lnTo>
                <a:lnTo>
                  <a:pt x="163449" y="192531"/>
                </a:lnTo>
                <a:lnTo>
                  <a:pt x="166086" y="179917"/>
                </a:lnTo>
                <a:lnTo>
                  <a:pt x="173116" y="169624"/>
                </a:lnTo>
                <a:lnTo>
                  <a:pt x="183505" y="162688"/>
                </a:lnTo>
                <a:lnTo>
                  <a:pt x="196215" y="160146"/>
                </a:lnTo>
                <a:lnTo>
                  <a:pt x="367283" y="160146"/>
                </a:lnTo>
                <a:lnTo>
                  <a:pt x="367283" y="129666"/>
                </a:lnTo>
                <a:lnTo>
                  <a:pt x="57276" y="129666"/>
                </a:lnTo>
                <a:lnTo>
                  <a:pt x="50246" y="128621"/>
                </a:lnTo>
                <a:lnTo>
                  <a:pt x="43989" y="125682"/>
                </a:lnTo>
                <a:lnTo>
                  <a:pt x="38756" y="121148"/>
                </a:lnTo>
                <a:lnTo>
                  <a:pt x="34798" y="115315"/>
                </a:lnTo>
                <a:close/>
              </a:path>
              <a:path w="367665" h="516889">
                <a:moveTo>
                  <a:pt x="367283" y="341629"/>
                </a:moveTo>
                <a:lnTo>
                  <a:pt x="281813" y="341629"/>
                </a:lnTo>
                <a:lnTo>
                  <a:pt x="281813" y="350138"/>
                </a:lnTo>
                <a:lnTo>
                  <a:pt x="367283" y="350138"/>
                </a:lnTo>
                <a:lnTo>
                  <a:pt x="367283" y="341629"/>
                </a:lnTo>
                <a:close/>
              </a:path>
              <a:path w="367665" h="516889">
                <a:moveTo>
                  <a:pt x="367283" y="324484"/>
                </a:moveTo>
                <a:lnTo>
                  <a:pt x="281813" y="324484"/>
                </a:lnTo>
                <a:lnTo>
                  <a:pt x="281813" y="332993"/>
                </a:lnTo>
                <a:lnTo>
                  <a:pt x="367283" y="332993"/>
                </a:lnTo>
                <a:lnTo>
                  <a:pt x="367283" y="324484"/>
                </a:lnTo>
                <a:close/>
              </a:path>
              <a:path w="367665" h="516889">
                <a:moveTo>
                  <a:pt x="157988" y="272922"/>
                </a:moveTo>
                <a:lnTo>
                  <a:pt x="157479" y="273303"/>
                </a:lnTo>
                <a:lnTo>
                  <a:pt x="157155" y="273303"/>
                </a:lnTo>
                <a:lnTo>
                  <a:pt x="153543" y="279780"/>
                </a:lnTo>
                <a:lnTo>
                  <a:pt x="149478" y="284733"/>
                </a:lnTo>
                <a:lnTo>
                  <a:pt x="146176" y="291591"/>
                </a:lnTo>
                <a:lnTo>
                  <a:pt x="142748" y="298449"/>
                </a:lnTo>
                <a:lnTo>
                  <a:pt x="140334" y="307466"/>
                </a:lnTo>
                <a:lnTo>
                  <a:pt x="138556" y="311657"/>
                </a:lnTo>
                <a:lnTo>
                  <a:pt x="158242" y="311657"/>
                </a:lnTo>
                <a:lnTo>
                  <a:pt x="158242" y="273303"/>
                </a:lnTo>
                <a:lnTo>
                  <a:pt x="157479" y="273303"/>
                </a:lnTo>
                <a:lnTo>
                  <a:pt x="157225" y="273176"/>
                </a:lnTo>
                <a:lnTo>
                  <a:pt x="158242" y="273176"/>
                </a:lnTo>
                <a:lnTo>
                  <a:pt x="157988" y="272922"/>
                </a:lnTo>
                <a:close/>
              </a:path>
              <a:path w="367665" h="516889">
                <a:moveTo>
                  <a:pt x="235584" y="275970"/>
                </a:moveTo>
                <a:lnTo>
                  <a:pt x="234950" y="276605"/>
                </a:lnTo>
                <a:lnTo>
                  <a:pt x="234950" y="311657"/>
                </a:lnTo>
                <a:lnTo>
                  <a:pt x="251841" y="311657"/>
                </a:lnTo>
                <a:lnTo>
                  <a:pt x="249219" y="302502"/>
                </a:lnTo>
                <a:lnTo>
                  <a:pt x="246014" y="294036"/>
                </a:lnTo>
                <a:lnTo>
                  <a:pt x="242055" y="285876"/>
                </a:lnTo>
                <a:lnTo>
                  <a:pt x="236854" y="277113"/>
                </a:lnTo>
                <a:lnTo>
                  <a:pt x="236347" y="276859"/>
                </a:lnTo>
                <a:lnTo>
                  <a:pt x="235839" y="276224"/>
                </a:lnTo>
                <a:lnTo>
                  <a:pt x="235584" y="275970"/>
                </a:lnTo>
                <a:close/>
              </a:path>
              <a:path w="367665" h="516889">
                <a:moveTo>
                  <a:pt x="367283" y="226821"/>
                </a:moveTo>
                <a:lnTo>
                  <a:pt x="176910" y="226821"/>
                </a:lnTo>
                <a:lnTo>
                  <a:pt x="177926" y="227202"/>
                </a:lnTo>
                <a:lnTo>
                  <a:pt x="213105" y="227456"/>
                </a:lnTo>
                <a:lnTo>
                  <a:pt x="217931" y="227456"/>
                </a:lnTo>
                <a:lnTo>
                  <a:pt x="222376" y="229107"/>
                </a:lnTo>
                <a:lnTo>
                  <a:pt x="254634" y="260857"/>
                </a:lnTo>
                <a:lnTo>
                  <a:pt x="273048" y="298791"/>
                </a:lnTo>
                <a:lnTo>
                  <a:pt x="276605" y="311657"/>
                </a:lnTo>
                <a:lnTo>
                  <a:pt x="367283" y="311657"/>
                </a:lnTo>
                <a:lnTo>
                  <a:pt x="367283" y="226821"/>
                </a:lnTo>
                <a:close/>
              </a:path>
              <a:path w="367665" h="516889">
                <a:moveTo>
                  <a:pt x="367283" y="160146"/>
                </a:moveTo>
                <a:lnTo>
                  <a:pt x="196215" y="160146"/>
                </a:lnTo>
                <a:lnTo>
                  <a:pt x="209016" y="162690"/>
                </a:lnTo>
                <a:lnTo>
                  <a:pt x="219471" y="169640"/>
                </a:lnTo>
                <a:lnTo>
                  <a:pt x="226522" y="179970"/>
                </a:lnTo>
                <a:lnTo>
                  <a:pt x="229107" y="192658"/>
                </a:lnTo>
                <a:lnTo>
                  <a:pt x="226591" y="205513"/>
                </a:lnTo>
                <a:lnTo>
                  <a:pt x="219551" y="215963"/>
                </a:lnTo>
                <a:lnTo>
                  <a:pt x="209034" y="222984"/>
                </a:lnTo>
                <a:lnTo>
                  <a:pt x="196088" y="225551"/>
                </a:lnTo>
                <a:lnTo>
                  <a:pt x="367283" y="225551"/>
                </a:lnTo>
                <a:lnTo>
                  <a:pt x="367283" y="160146"/>
                </a:lnTo>
                <a:close/>
              </a:path>
              <a:path w="367665" h="516889">
                <a:moveTo>
                  <a:pt x="367283" y="78485"/>
                </a:moveTo>
                <a:lnTo>
                  <a:pt x="57276" y="78485"/>
                </a:lnTo>
                <a:lnTo>
                  <a:pt x="67232" y="80730"/>
                </a:lnTo>
                <a:lnTo>
                  <a:pt x="75390" y="86725"/>
                </a:lnTo>
                <a:lnTo>
                  <a:pt x="80904" y="95363"/>
                </a:lnTo>
                <a:lnTo>
                  <a:pt x="82930" y="105536"/>
                </a:lnTo>
                <a:lnTo>
                  <a:pt x="80904" y="115254"/>
                </a:lnTo>
                <a:lnTo>
                  <a:pt x="75390" y="122888"/>
                </a:lnTo>
                <a:lnTo>
                  <a:pt x="67232" y="127879"/>
                </a:lnTo>
                <a:lnTo>
                  <a:pt x="57276" y="129666"/>
                </a:lnTo>
                <a:lnTo>
                  <a:pt x="367283" y="129666"/>
                </a:lnTo>
                <a:lnTo>
                  <a:pt x="367283" y="78485"/>
                </a:lnTo>
                <a:close/>
              </a:path>
              <a:path w="367665" h="516889">
                <a:moveTo>
                  <a:pt x="63246" y="93979"/>
                </a:moveTo>
                <a:lnTo>
                  <a:pt x="49022" y="93979"/>
                </a:lnTo>
                <a:lnTo>
                  <a:pt x="47117" y="98170"/>
                </a:lnTo>
                <a:lnTo>
                  <a:pt x="6857" y="98170"/>
                </a:lnTo>
                <a:lnTo>
                  <a:pt x="6857" y="99948"/>
                </a:lnTo>
                <a:lnTo>
                  <a:pt x="6603" y="99948"/>
                </a:lnTo>
                <a:lnTo>
                  <a:pt x="6476" y="100710"/>
                </a:lnTo>
                <a:lnTo>
                  <a:pt x="2794" y="100710"/>
                </a:lnTo>
                <a:lnTo>
                  <a:pt x="0" y="104012"/>
                </a:lnTo>
                <a:lnTo>
                  <a:pt x="0" y="111124"/>
                </a:lnTo>
                <a:lnTo>
                  <a:pt x="2794" y="114172"/>
                </a:lnTo>
                <a:lnTo>
                  <a:pt x="6476" y="114172"/>
                </a:lnTo>
                <a:lnTo>
                  <a:pt x="6603" y="114807"/>
                </a:lnTo>
                <a:lnTo>
                  <a:pt x="6857" y="114807"/>
                </a:lnTo>
                <a:lnTo>
                  <a:pt x="6857" y="115315"/>
                </a:lnTo>
                <a:lnTo>
                  <a:pt x="47117" y="115315"/>
                </a:lnTo>
                <a:lnTo>
                  <a:pt x="49022" y="119506"/>
                </a:lnTo>
                <a:lnTo>
                  <a:pt x="52704" y="119125"/>
                </a:lnTo>
                <a:lnTo>
                  <a:pt x="63246" y="119125"/>
                </a:lnTo>
                <a:lnTo>
                  <a:pt x="68325" y="112267"/>
                </a:lnTo>
                <a:lnTo>
                  <a:pt x="68325" y="99821"/>
                </a:lnTo>
                <a:lnTo>
                  <a:pt x="63246" y="93979"/>
                </a:lnTo>
                <a:close/>
              </a:path>
              <a:path w="367665" h="516889">
                <a:moveTo>
                  <a:pt x="351027" y="0"/>
                </a:moveTo>
                <a:lnTo>
                  <a:pt x="38100" y="0"/>
                </a:lnTo>
                <a:lnTo>
                  <a:pt x="30432" y="2087"/>
                </a:lnTo>
                <a:lnTo>
                  <a:pt x="23717" y="7461"/>
                </a:lnTo>
                <a:lnTo>
                  <a:pt x="18954" y="14787"/>
                </a:lnTo>
                <a:lnTo>
                  <a:pt x="17145" y="22732"/>
                </a:lnTo>
                <a:lnTo>
                  <a:pt x="17145" y="89661"/>
                </a:lnTo>
                <a:lnTo>
                  <a:pt x="34798" y="89661"/>
                </a:lnTo>
                <a:lnTo>
                  <a:pt x="39116" y="81152"/>
                </a:lnTo>
                <a:lnTo>
                  <a:pt x="47498" y="78485"/>
                </a:lnTo>
                <a:lnTo>
                  <a:pt x="367283" y="78485"/>
                </a:lnTo>
                <a:lnTo>
                  <a:pt x="367283" y="22732"/>
                </a:lnTo>
                <a:lnTo>
                  <a:pt x="366190" y="14787"/>
                </a:lnTo>
                <a:lnTo>
                  <a:pt x="363013" y="7461"/>
                </a:lnTo>
                <a:lnTo>
                  <a:pt x="357907" y="2087"/>
                </a:lnTo>
                <a:lnTo>
                  <a:pt x="351027" y="0"/>
                </a:lnTo>
                <a:close/>
              </a:path>
            </a:pathLst>
          </a:custGeom>
          <a:solidFill>
            <a:srgbClr val="5B9BD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58">
            <a:extLst>
              <a:ext uri="{FF2B5EF4-FFF2-40B4-BE49-F238E27FC236}">
                <a16:creationId xmlns:a16="http://schemas.microsoft.com/office/drawing/2014/main" id="{2B2EA8FF-9FC8-47BA-885E-537B5027389F}"/>
              </a:ext>
            </a:extLst>
          </p:cNvPr>
          <p:cNvSpPr/>
          <p:nvPr/>
        </p:nvSpPr>
        <p:spPr>
          <a:xfrm>
            <a:off x="4871864" y="5986367"/>
            <a:ext cx="650875" cy="0"/>
          </a:xfrm>
          <a:custGeom>
            <a:avLst/>
            <a:gdLst/>
            <a:ahLst/>
            <a:cxnLst/>
            <a:rect l="l" t="t" r="r" b="b"/>
            <a:pathLst>
              <a:path w="650875">
                <a:moveTo>
                  <a:pt x="0" y="0"/>
                </a:moveTo>
                <a:lnTo>
                  <a:pt x="650748" y="0"/>
                </a:lnTo>
              </a:path>
            </a:pathLst>
          </a:custGeom>
          <a:ln w="20320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59">
            <a:extLst>
              <a:ext uri="{FF2B5EF4-FFF2-40B4-BE49-F238E27FC236}">
                <a16:creationId xmlns:a16="http://schemas.microsoft.com/office/drawing/2014/main" id="{AF82FFB3-1A89-41DD-8BC4-37A5A46BD1CC}"/>
              </a:ext>
            </a:extLst>
          </p:cNvPr>
          <p:cNvSpPr/>
          <p:nvPr/>
        </p:nvSpPr>
        <p:spPr>
          <a:xfrm>
            <a:off x="4871864" y="5966682"/>
            <a:ext cx="190500" cy="0"/>
          </a:xfrm>
          <a:custGeom>
            <a:avLst/>
            <a:gdLst/>
            <a:ahLst/>
            <a:cxnLst/>
            <a:rect l="l" t="t" r="r" b="b"/>
            <a:pathLst>
              <a:path w="190500">
                <a:moveTo>
                  <a:pt x="0" y="0"/>
                </a:moveTo>
                <a:lnTo>
                  <a:pt x="190500" y="0"/>
                </a:lnTo>
              </a:path>
            </a:pathLst>
          </a:custGeom>
          <a:ln w="19050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0">
            <a:extLst>
              <a:ext uri="{FF2B5EF4-FFF2-40B4-BE49-F238E27FC236}">
                <a16:creationId xmlns:a16="http://schemas.microsoft.com/office/drawing/2014/main" id="{4F3B5A7A-5D99-41AF-BC96-5E31A014C833}"/>
              </a:ext>
            </a:extLst>
          </p:cNvPr>
          <p:cNvSpPr/>
          <p:nvPr/>
        </p:nvSpPr>
        <p:spPr>
          <a:xfrm>
            <a:off x="4871864" y="5926677"/>
            <a:ext cx="12700" cy="30480"/>
          </a:xfrm>
          <a:custGeom>
            <a:avLst/>
            <a:gdLst/>
            <a:ahLst/>
            <a:cxnLst/>
            <a:rect l="l" t="t" r="r" b="b"/>
            <a:pathLst>
              <a:path w="12700" h="30479">
                <a:moveTo>
                  <a:pt x="0" y="30480"/>
                </a:moveTo>
                <a:lnTo>
                  <a:pt x="12319" y="30480"/>
                </a:lnTo>
                <a:lnTo>
                  <a:pt x="12319" y="0"/>
                </a:lnTo>
                <a:lnTo>
                  <a:pt x="0" y="0"/>
                </a:lnTo>
                <a:lnTo>
                  <a:pt x="0" y="3048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61">
            <a:extLst>
              <a:ext uri="{FF2B5EF4-FFF2-40B4-BE49-F238E27FC236}">
                <a16:creationId xmlns:a16="http://schemas.microsoft.com/office/drawing/2014/main" id="{7F9854E3-82F3-4B21-8678-3E7EC7F76A9A}"/>
              </a:ext>
            </a:extLst>
          </p:cNvPr>
          <p:cNvSpPr/>
          <p:nvPr/>
        </p:nvSpPr>
        <p:spPr>
          <a:xfrm>
            <a:off x="4871864" y="5923502"/>
            <a:ext cx="190500" cy="0"/>
          </a:xfrm>
          <a:custGeom>
            <a:avLst/>
            <a:gdLst/>
            <a:ahLst/>
            <a:cxnLst/>
            <a:rect l="l" t="t" r="r" b="b"/>
            <a:pathLst>
              <a:path w="190500">
                <a:moveTo>
                  <a:pt x="0" y="0"/>
                </a:moveTo>
                <a:lnTo>
                  <a:pt x="190500" y="0"/>
                </a:lnTo>
              </a:path>
            </a:pathLst>
          </a:custGeom>
          <a:ln w="6350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62">
            <a:extLst>
              <a:ext uri="{FF2B5EF4-FFF2-40B4-BE49-F238E27FC236}">
                <a16:creationId xmlns:a16="http://schemas.microsoft.com/office/drawing/2014/main" id="{35DCA243-13DB-4CE6-B313-CCE168B68954}"/>
              </a:ext>
            </a:extLst>
          </p:cNvPr>
          <p:cNvSpPr/>
          <p:nvPr/>
        </p:nvSpPr>
        <p:spPr>
          <a:xfrm>
            <a:off x="4871864" y="5889848"/>
            <a:ext cx="12700" cy="30480"/>
          </a:xfrm>
          <a:custGeom>
            <a:avLst/>
            <a:gdLst/>
            <a:ahLst/>
            <a:cxnLst/>
            <a:rect l="l" t="t" r="r" b="b"/>
            <a:pathLst>
              <a:path w="12700" h="30479">
                <a:moveTo>
                  <a:pt x="0" y="30479"/>
                </a:moveTo>
                <a:lnTo>
                  <a:pt x="12319" y="30479"/>
                </a:lnTo>
                <a:lnTo>
                  <a:pt x="12319" y="0"/>
                </a:lnTo>
                <a:lnTo>
                  <a:pt x="0" y="0"/>
                </a:lnTo>
                <a:lnTo>
                  <a:pt x="0" y="30479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63">
            <a:extLst>
              <a:ext uri="{FF2B5EF4-FFF2-40B4-BE49-F238E27FC236}">
                <a16:creationId xmlns:a16="http://schemas.microsoft.com/office/drawing/2014/main" id="{98CDA400-AA2E-466C-AC68-5C41D692A4C5}"/>
              </a:ext>
            </a:extLst>
          </p:cNvPr>
          <p:cNvSpPr/>
          <p:nvPr/>
        </p:nvSpPr>
        <p:spPr>
          <a:xfrm>
            <a:off x="4871864" y="5866988"/>
            <a:ext cx="190500" cy="0"/>
          </a:xfrm>
          <a:custGeom>
            <a:avLst/>
            <a:gdLst/>
            <a:ahLst/>
            <a:cxnLst/>
            <a:rect l="l" t="t" r="r" b="b"/>
            <a:pathLst>
              <a:path w="190500">
                <a:moveTo>
                  <a:pt x="0" y="0"/>
                </a:moveTo>
                <a:lnTo>
                  <a:pt x="190500" y="0"/>
                </a:lnTo>
              </a:path>
            </a:pathLst>
          </a:custGeom>
          <a:ln w="45720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64">
            <a:extLst>
              <a:ext uri="{FF2B5EF4-FFF2-40B4-BE49-F238E27FC236}">
                <a16:creationId xmlns:a16="http://schemas.microsoft.com/office/drawing/2014/main" id="{25327C2F-AF11-4CD4-AA18-EF929E526D21}"/>
              </a:ext>
            </a:extLst>
          </p:cNvPr>
          <p:cNvSpPr/>
          <p:nvPr/>
        </p:nvSpPr>
        <p:spPr>
          <a:xfrm>
            <a:off x="4871864" y="5809202"/>
            <a:ext cx="190500" cy="0"/>
          </a:xfrm>
          <a:custGeom>
            <a:avLst/>
            <a:gdLst/>
            <a:ahLst/>
            <a:cxnLst/>
            <a:rect l="l" t="t" r="r" b="b"/>
            <a:pathLst>
              <a:path w="190500">
                <a:moveTo>
                  <a:pt x="0" y="0"/>
                </a:moveTo>
                <a:lnTo>
                  <a:pt x="190500" y="0"/>
                </a:lnTo>
              </a:path>
            </a:pathLst>
          </a:custGeom>
          <a:ln w="3809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65">
            <a:extLst>
              <a:ext uri="{FF2B5EF4-FFF2-40B4-BE49-F238E27FC236}">
                <a16:creationId xmlns:a16="http://schemas.microsoft.com/office/drawing/2014/main" id="{91C6F9AA-078C-4D3F-A816-72D9736366FD}"/>
              </a:ext>
            </a:extLst>
          </p:cNvPr>
          <p:cNvSpPr/>
          <p:nvPr/>
        </p:nvSpPr>
        <p:spPr>
          <a:xfrm>
            <a:off x="4878023" y="5774277"/>
            <a:ext cx="0" cy="69850"/>
          </a:xfrm>
          <a:custGeom>
            <a:avLst/>
            <a:gdLst/>
            <a:ahLst/>
            <a:cxnLst/>
            <a:rect l="l" t="t" r="r" b="b"/>
            <a:pathLst>
              <a:path h="69850">
                <a:moveTo>
                  <a:pt x="0" y="69850"/>
                </a:moveTo>
                <a:lnTo>
                  <a:pt x="0" y="0"/>
                </a:lnTo>
                <a:lnTo>
                  <a:pt x="0" y="6985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66">
            <a:extLst>
              <a:ext uri="{FF2B5EF4-FFF2-40B4-BE49-F238E27FC236}">
                <a16:creationId xmlns:a16="http://schemas.microsoft.com/office/drawing/2014/main" id="{75F52619-22FF-4D7D-8A13-08034F8DB02C}"/>
              </a:ext>
            </a:extLst>
          </p:cNvPr>
          <p:cNvSpPr/>
          <p:nvPr/>
        </p:nvSpPr>
        <p:spPr>
          <a:xfrm>
            <a:off x="4871864" y="5747607"/>
            <a:ext cx="190500" cy="0"/>
          </a:xfrm>
          <a:custGeom>
            <a:avLst/>
            <a:gdLst/>
            <a:ahLst/>
            <a:cxnLst/>
            <a:rect l="l" t="t" r="r" b="b"/>
            <a:pathLst>
              <a:path w="190500">
                <a:moveTo>
                  <a:pt x="0" y="0"/>
                </a:moveTo>
                <a:lnTo>
                  <a:pt x="190500" y="0"/>
                </a:lnTo>
              </a:path>
            </a:pathLst>
          </a:custGeom>
          <a:ln w="53340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67">
            <a:extLst>
              <a:ext uri="{FF2B5EF4-FFF2-40B4-BE49-F238E27FC236}">
                <a16:creationId xmlns:a16="http://schemas.microsoft.com/office/drawing/2014/main" id="{DA2FC3FB-6F35-49C9-B738-06BD07F92BC1}"/>
              </a:ext>
            </a:extLst>
          </p:cNvPr>
          <p:cNvSpPr/>
          <p:nvPr/>
        </p:nvSpPr>
        <p:spPr>
          <a:xfrm>
            <a:off x="5100209" y="5886038"/>
            <a:ext cx="0" cy="90170"/>
          </a:xfrm>
          <a:custGeom>
            <a:avLst/>
            <a:gdLst/>
            <a:ahLst/>
            <a:cxnLst/>
            <a:rect l="l" t="t" r="r" b="b"/>
            <a:pathLst>
              <a:path h="90170">
                <a:moveTo>
                  <a:pt x="0" y="0"/>
                </a:moveTo>
                <a:lnTo>
                  <a:pt x="0" y="90170"/>
                </a:lnTo>
              </a:path>
            </a:pathLst>
          </a:custGeom>
          <a:ln w="58165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68">
            <a:extLst>
              <a:ext uri="{FF2B5EF4-FFF2-40B4-BE49-F238E27FC236}">
                <a16:creationId xmlns:a16="http://schemas.microsoft.com/office/drawing/2014/main" id="{D7FFC1E3-7329-42CB-8399-C11C563A4B7B}"/>
              </a:ext>
            </a:extLst>
          </p:cNvPr>
          <p:cNvSpPr/>
          <p:nvPr/>
        </p:nvSpPr>
        <p:spPr>
          <a:xfrm>
            <a:off x="5071127" y="5865082"/>
            <a:ext cx="252729" cy="0"/>
          </a:xfrm>
          <a:custGeom>
            <a:avLst/>
            <a:gdLst/>
            <a:ahLst/>
            <a:cxnLst/>
            <a:rect l="l" t="t" r="r" b="b"/>
            <a:pathLst>
              <a:path w="252729">
                <a:moveTo>
                  <a:pt x="0" y="0"/>
                </a:moveTo>
                <a:lnTo>
                  <a:pt x="252222" y="0"/>
                </a:lnTo>
              </a:path>
            </a:pathLst>
          </a:custGeom>
          <a:ln w="41909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69">
            <a:extLst>
              <a:ext uri="{FF2B5EF4-FFF2-40B4-BE49-F238E27FC236}">
                <a16:creationId xmlns:a16="http://schemas.microsoft.com/office/drawing/2014/main" id="{9E2069EE-5602-4C91-83B5-C23410199C81}"/>
              </a:ext>
            </a:extLst>
          </p:cNvPr>
          <p:cNvSpPr/>
          <p:nvPr/>
        </p:nvSpPr>
        <p:spPr>
          <a:xfrm>
            <a:off x="5071127" y="5811107"/>
            <a:ext cx="46355" cy="33020"/>
          </a:xfrm>
          <a:custGeom>
            <a:avLst/>
            <a:gdLst/>
            <a:ahLst/>
            <a:cxnLst/>
            <a:rect l="l" t="t" r="r" b="b"/>
            <a:pathLst>
              <a:path w="46354" h="33020">
                <a:moveTo>
                  <a:pt x="0" y="33019"/>
                </a:moveTo>
                <a:lnTo>
                  <a:pt x="45847" y="33019"/>
                </a:lnTo>
                <a:lnTo>
                  <a:pt x="45847" y="0"/>
                </a:lnTo>
                <a:lnTo>
                  <a:pt x="0" y="0"/>
                </a:lnTo>
                <a:lnTo>
                  <a:pt x="0" y="33019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0">
            <a:extLst>
              <a:ext uri="{FF2B5EF4-FFF2-40B4-BE49-F238E27FC236}">
                <a16:creationId xmlns:a16="http://schemas.microsoft.com/office/drawing/2014/main" id="{932808C7-F7E8-4831-B098-FC0350E2EFE6}"/>
              </a:ext>
            </a:extLst>
          </p:cNvPr>
          <p:cNvSpPr/>
          <p:nvPr/>
        </p:nvSpPr>
        <p:spPr>
          <a:xfrm>
            <a:off x="5071127" y="5809202"/>
            <a:ext cx="252729" cy="0"/>
          </a:xfrm>
          <a:custGeom>
            <a:avLst/>
            <a:gdLst/>
            <a:ahLst/>
            <a:cxnLst/>
            <a:rect l="l" t="t" r="r" b="b"/>
            <a:pathLst>
              <a:path w="252729">
                <a:moveTo>
                  <a:pt x="0" y="0"/>
                </a:moveTo>
                <a:lnTo>
                  <a:pt x="252222" y="0"/>
                </a:lnTo>
              </a:path>
            </a:pathLst>
          </a:custGeom>
          <a:ln w="3809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71">
            <a:extLst>
              <a:ext uri="{FF2B5EF4-FFF2-40B4-BE49-F238E27FC236}">
                <a16:creationId xmlns:a16="http://schemas.microsoft.com/office/drawing/2014/main" id="{FEB5B6C6-59D3-4E43-90A4-2539BFCCEFAE}"/>
              </a:ext>
            </a:extLst>
          </p:cNvPr>
          <p:cNvSpPr/>
          <p:nvPr/>
        </p:nvSpPr>
        <p:spPr>
          <a:xfrm>
            <a:off x="5071127" y="5774277"/>
            <a:ext cx="46355" cy="33020"/>
          </a:xfrm>
          <a:custGeom>
            <a:avLst/>
            <a:gdLst/>
            <a:ahLst/>
            <a:cxnLst/>
            <a:rect l="l" t="t" r="r" b="b"/>
            <a:pathLst>
              <a:path w="46354" h="33020">
                <a:moveTo>
                  <a:pt x="0" y="33020"/>
                </a:moveTo>
                <a:lnTo>
                  <a:pt x="45847" y="33020"/>
                </a:lnTo>
                <a:lnTo>
                  <a:pt x="45847" y="0"/>
                </a:lnTo>
                <a:lnTo>
                  <a:pt x="0" y="0"/>
                </a:lnTo>
                <a:lnTo>
                  <a:pt x="0" y="3302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72">
            <a:extLst>
              <a:ext uri="{FF2B5EF4-FFF2-40B4-BE49-F238E27FC236}">
                <a16:creationId xmlns:a16="http://schemas.microsoft.com/office/drawing/2014/main" id="{F4A49261-07E7-48A7-B1AD-FA6FD55DEB4E}"/>
              </a:ext>
            </a:extLst>
          </p:cNvPr>
          <p:cNvSpPr/>
          <p:nvPr/>
        </p:nvSpPr>
        <p:spPr>
          <a:xfrm>
            <a:off x="5071127" y="5768563"/>
            <a:ext cx="252729" cy="0"/>
          </a:xfrm>
          <a:custGeom>
            <a:avLst/>
            <a:gdLst/>
            <a:ahLst/>
            <a:cxnLst/>
            <a:rect l="l" t="t" r="r" b="b"/>
            <a:pathLst>
              <a:path w="252729">
                <a:moveTo>
                  <a:pt x="0" y="0"/>
                </a:moveTo>
                <a:lnTo>
                  <a:pt x="252222" y="0"/>
                </a:lnTo>
              </a:path>
            </a:pathLst>
          </a:custGeom>
          <a:ln w="11429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73">
            <a:extLst>
              <a:ext uri="{FF2B5EF4-FFF2-40B4-BE49-F238E27FC236}">
                <a16:creationId xmlns:a16="http://schemas.microsoft.com/office/drawing/2014/main" id="{2C684FEA-6C82-4412-82BC-AFF4C993D39C}"/>
              </a:ext>
            </a:extLst>
          </p:cNvPr>
          <p:cNvSpPr/>
          <p:nvPr/>
        </p:nvSpPr>
        <p:spPr>
          <a:xfrm>
            <a:off x="5071127" y="5746973"/>
            <a:ext cx="109855" cy="0"/>
          </a:xfrm>
          <a:custGeom>
            <a:avLst/>
            <a:gdLst/>
            <a:ahLst/>
            <a:cxnLst/>
            <a:rect l="l" t="t" r="r" b="b"/>
            <a:pathLst>
              <a:path w="109854">
                <a:moveTo>
                  <a:pt x="0" y="0"/>
                </a:moveTo>
                <a:lnTo>
                  <a:pt x="109347" y="0"/>
                </a:lnTo>
              </a:path>
            </a:pathLst>
          </a:custGeom>
          <a:ln w="31750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74">
            <a:extLst>
              <a:ext uri="{FF2B5EF4-FFF2-40B4-BE49-F238E27FC236}">
                <a16:creationId xmlns:a16="http://schemas.microsoft.com/office/drawing/2014/main" id="{87E96C7D-9116-47A9-A8CD-80DC042D3BCF}"/>
              </a:ext>
            </a:extLst>
          </p:cNvPr>
          <p:cNvSpPr/>
          <p:nvPr/>
        </p:nvSpPr>
        <p:spPr>
          <a:xfrm>
            <a:off x="5071127" y="5700618"/>
            <a:ext cx="76200" cy="30480"/>
          </a:xfrm>
          <a:custGeom>
            <a:avLst/>
            <a:gdLst/>
            <a:ahLst/>
            <a:cxnLst/>
            <a:rect l="l" t="t" r="r" b="b"/>
            <a:pathLst>
              <a:path w="76200" h="30479">
                <a:moveTo>
                  <a:pt x="0" y="30479"/>
                </a:moveTo>
                <a:lnTo>
                  <a:pt x="75818" y="30479"/>
                </a:lnTo>
                <a:lnTo>
                  <a:pt x="75818" y="0"/>
                </a:lnTo>
                <a:lnTo>
                  <a:pt x="0" y="0"/>
                </a:lnTo>
                <a:lnTo>
                  <a:pt x="0" y="30479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75">
            <a:extLst>
              <a:ext uri="{FF2B5EF4-FFF2-40B4-BE49-F238E27FC236}">
                <a16:creationId xmlns:a16="http://schemas.microsoft.com/office/drawing/2014/main" id="{AC3CFFA8-979B-40C5-A3EE-509322D65371}"/>
              </a:ext>
            </a:extLst>
          </p:cNvPr>
          <p:cNvSpPr/>
          <p:nvPr/>
        </p:nvSpPr>
        <p:spPr>
          <a:xfrm>
            <a:off x="5071127" y="5684743"/>
            <a:ext cx="109855" cy="0"/>
          </a:xfrm>
          <a:custGeom>
            <a:avLst/>
            <a:gdLst/>
            <a:ahLst/>
            <a:cxnLst/>
            <a:rect l="l" t="t" r="r" b="b"/>
            <a:pathLst>
              <a:path w="109854">
                <a:moveTo>
                  <a:pt x="0" y="0"/>
                </a:moveTo>
                <a:lnTo>
                  <a:pt x="109347" y="0"/>
                </a:lnTo>
              </a:path>
            </a:pathLst>
          </a:custGeom>
          <a:ln w="31750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76">
            <a:extLst>
              <a:ext uri="{FF2B5EF4-FFF2-40B4-BE49-F238E27FC236}">
                <a16:creationId xmlns:a16="http://schemas.microsoft.com/office/drawing/2014/main" id="{593CF6C4-5A34-4298-84C4-1B8B3D4AF5EB}"/>
              </a:ext>
            </a:extLst>
          </p:cNvPr>
          <p:cNvSpPr/>
          <p:nvPr/>
        </p:nvSpPr>
        <p:spPr>
          <a:xfrm>
            <a:off x="5071127" y="5661248"/>
            <a:ext cx="252729" cy="0"/>
          </a:xfrm>
          <a:custGeom>
            <a:avLst/>
            <a:gdLst/>
            <a:ahLst/>
            <a:cxnLst/>
            <a:rect l="l" t="t" r="r" b="b"/>
            <a:pathLst>
              <a:path w="252729">
                <a:moveTo>
                  <a:pt x="0" y="0"/>
                </a:moveTo>
                <a:lnTo>
                  <a:pt x="252222" y="0"/>
                </a:lnTo>
              </a:path>
            </a:pathLst>
          </a:custGeom>
          <a:ln w="15239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77">
            <a:extLst>
              <a:ext uri="{FF2B5EF4-FFF2-40B4-BE49-F238E27FC236}">
                <a16:creationId xmlns:a16="http://schemas.microsoft.com/office/drawing/2014/main" id="{E98BD296-C5D5-41E8-9ED2-EA700CC197E8}"/>
              </a:ext>
            </a:extLst>
          </p:cNvPr>
          <p:cNvSpPr/>
          <p:nvPr/>
        </p:nvSpPr>
        <p:spPr>
          <a:xfrm>
            <a:off x="5197238" y="5886038"/>
            <a:ext cx="0" cy="90805"/>
          </a:xfrm>
          <a:custGeom>
            <a:avLst/>
            <a:gdLst/>
            <a:ahLst/>
            <a:cxnLst/>
            <a:rect l="l" t="t" r="r" b="b"/>
            <a:pathLst>
              <a:path h="90804">
                <a:moveTo>
                  <a:pt x="0" y="0"/>
                </a:moveTo>
                <a:lnTo>
                  <a:pt x="0" y="90576"/>
                </a:lnTo>
              </a:path>
            </a:pathLst>
          </a:custGeom>
          <a:ln w="8890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78">
            <a:extLst>
              <a:ext uri="{FF2B5EF4-FFF2-40B4-BE49-F238E27FC236}">
                <a16:creationId xmlns:a16="http://schemas.microsoft.com/office/drawing/2014/main" id="{C0FEBA50-ECBE-4F78-92A0-CB3566F0A900}"/>
              </a:ext>
            </a:extLst>
          </p:cNvPr>
          <p:cNvSpPr/>
          <p:nvPr/>
        </p:nvSpPr>
        <p:spPr>
          <a:xfrm>
            <a:off x="5295154" y="5886038"/>
            <a:ext cx="0" cy="90805"/>
          </a:xfrm>
          <a:custGeom>
            <a:avLst/>
            <a:gdLst/>
            <a:ahLst/>
            <a:cxnLst/>
            <a:rect l="l" t="t" r="r" b="b"/>
            <a:pathLst>
              <a:path h="90804">
                <a:moveTo>
                  <a:pt x="0" y="0"/>
                </a:moveTo>
                <a:lnTo>
                  <a:pt x="0" y="90576"/>
                </a:lnTo>
              </a:path>
            </a:pathLst>
          </a:custGeom>
          <a:ln w="56388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79">
            <a:extLst>
              <a:ext uri="{FF2B5EF4-FFF2-40B4-BE49-F238E27FC236}">
                <a16:creationId xmlns:a16="http://schemas.microsoft.com/office/drawing/2014/main" id="{72957D2E-72B1-457A-AE5A-C6D980ECFB05}"/>
              </a:ext>
            </a:extLst>
          </p:cNvPr>
          <p:cNvSpPr/>
          <p:nvPr/>
        </p:nvSpPr>
        <p:spPr>
          <a:xfrm>
            <a:off x="5333890" y="5966682"/>
            <a:ext cx="189230" cy="0"/>
          </a:xfrm>
          <a:custGeom>
            <a:avLst/>
            <a:gdLst/>
            <a:ahLst/>
            <a:cxnLst/>
            <a:rect l="l" t="t" r="r" b="b"/>
            <a:pathLst>
              <a:path w="189229">
                <a:moveTo>
                  <a:pt x="0" y="0"/>
                </a:moveTo>
                <a:lnTo>
                  <a:pt x="188722" y="0"/>
                </a:lnTo>
              </a:path>
            </a:pathLst>
          </a:custGeom>
          <a:ln w="19050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0">
            <a:extLst>
              <a:ext uri="{FF2B5EF4-FFF2-40B4-BE49-F238E27FC236}">
                <a16:creationId xmlns:a16="http://schemas.microsoft.com/office/drawing/2014/main" id="{F185096C-44B2-4B56-AC76-032630216888}"/>
              </a:ext>
            </a:extLst>
          </p:cNvPr>
          <p:cNvSpPr/>
          <p:nvPr/>
        </p:nvSpPr>
        <p:spPr>
          <a:xfrm>
            <a:off x="5333890" y="5926677"/>
            <a:ext cx="12700" cy="30480"/>
          </a:xfrm>
          <a:custGeom>
            <a:avLst/>
            <a:gdLst/>
            <a:ahLst/>
            <a:cxnLst/>
            <a:rect l="l" t="t" r="r" b="b"/>
            <a:pathLst>
              <a:path w="12700" h="30479">
                <a:moveTo>
                  <a:pt x="0" y="30480"/>
                </a:moveTo>
                <a:lnTo>
                  <a:pt x="12319" y="30480"/>
                </a:lnTo>
                <a:lnTo>
                  <a:pt x="12319" y="0"/>
                </a:lnTo>
                <a:lnTo>
                  <a:pt x="0" y="0"/>
                </a:lnTo>
                <a:lnTo>
                  <a:pt x="0" y="3048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81">
            <a:extLst>
              <a:ext uri="{FF2B5EF4-FFF2-40B4-BE49-F238E27FC236}">
                <a16:creationId xmlns:a16="http://schemas.microsoft.com/office/drawing/2014/main" id="{D73C2207-096C-4633-94B7-AF29FA75CC27}"/>
              </a:ext>
            </a:extLst>
          </p:cNvPr>
          <p:cNvSpPr/>
          <p:nvPr/>
        </p:nvSpPr>
        <p:spPr>
          <a:xfrm>
            <a:off x="5333890" y="5923502"/>
            <a:ext cx="189230" cy="0"/>
          </a:xfrm>
          <a:custGeom>
            <a:avLst/>
            <a:gdLst/>
            <a:ahLst/>
            <a:cxnLst/>
            <a:rect l="l" t="t" r="r" b="b"/>
            <a:pathLst>
              <a:path w="189229">
                <a:moveTo>
                  <a:pt x="0" y="0"/>
                </a:moveTo>
                <a:lnTo>
                  <a:pt x="188722" y="0"/>
                </a:lnTo>
              </a:path>
            </a:pathLst>
          </a:custGeom>
          <a:ln w="6350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" name="object 82">
            <a:extLst>
              <a:ext uri="{FF2B5EF4-FFF2-40B4-BE49-F238E27FC236}">
                <a16:creationId xmlns:a16="http://schemas.microsoft.com/office/drawing/2014/main" id="{E11E035D-6665-4FF9-832F-2FC2FD07705D}"/>
              </a:ext>
            </a:extLst>
          </p:cNvPr>
          <p:cNvSpPr/>
          <p:nvPr/>
        </p:nvSpPr>
        <p:spPr>
          <a:xfrm>
            <a:off x="5333890" y="5889848"/>
            <a:ext cx="12700" cy="30480"/>
          </a:xfrm>
          <a:custGeom>
            <a:avLst/>
            <a:gdLst/>
            <a:ahLst/>
            <a:cxnLst/>
            <a:rect l="l" t="t" r="r" b="b"/>
            <a:pathLst>
              <a:path w="12700" h="30479">
                <a:moveTo>
                  <a:pt x="0" y="30479"/>
                </a:moveTo>
                <a:lnTo>
                  <a:pt x="12319" y="30479"/>
                </a:lnTo>
                <a:lnTo>
                  <a:pt x="12319" y="0"/>
                </a:lnTo>
                <a:lnTo>
                  <a:pt x="0" y="0"/>
                </a:lnTo>
                <a:lnTo>
                  <a:pt x="0" y="30479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" name="object 83">
            <a:extLst>
              <a:ext uri="{FF2B5EF4-FFF2-40B4-BE49-F238E27FC236}">
                <a16:creationId xmlns:a16="http://schemas.microsoft.com/office/drawing/2014/main" id="{BD447A06-2CBF-4502-8757-E509250901F6}"/>
              </a:ext>
            </a:extLst>
          </p:cNvPr>
          <p:cNvSpPr/>
          <p:nvPr/>
        </p:nvSpPr>
        <p:spPr>
          <a:xfrm>
            <a:off x="5333890" y="5866988"/>
            <a:ext cx="189230" cy="0"/>
          </a:xfrm>
          <a:custGeom>
            <a:avLst/>
            <a:gdLst/>
            <a:ahLst/>
            <a:cxnLst/>
            <a:rect l="l" t="t" r="r" b="b"/>
            <a:pathLst>
              <a:path w="189229">
                <a:moveTo>
                  <a:pt x="0" y="0"/>
                </a:moveTo>
                <a:lnTo>
                  <a:pt x="188722" y="0"/>
                </a:lnTo>
              </a:path>
            </a:pathLst>
          </a:custGeom>
          <a:ln w="45720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" name="object 84">
            <a:extLst>
              <a:ext uri="{FF2B5EF4-FFF2-40B4-BE49-F238E27FC236}">
                <a16:creationId xmlns:a16="http://schemas.microsoft.com/office/drawing/2014/main" id="{3A625B36-3044-47DE-A2DE-5F21E4466D74}"/>
              </a:ext>
            </a:extLst>
          </p:cNvPr>
          <p:cNvSpPr/>
          <p:nvPr/>
        </p:nvSpPr>
        <p:spPr>
          <a:xfrm>
            <a:off x="5333890" y="5811107"/>
            <a:ext cx="12700" cy="33020"/>
          </a:xfrm>
          <a:custGeom>
            <a:avLst/>
            <a:gdLst/>
            <a:ahLst/>
            <a:cxnLst/>
            <a:rect l="l" t="t" r="r" b="b"/>
            <a:pathLst>
              <a:path w="12700" h="33020">
                <a:moveTo>
                  <a:pt x="0" y="33019"/>
                </a:moveTo>
                <a:lnTo>
                  <a:pt x="12319" y="33019"/>
                </a:lnTo>
                <a:lnTo>
                  <a:pt x="12319" y="0"/>
                </a:lnTo>
                <a:lnTo>
                  <a:pt x="0" y="0"/>
                </a:lnTo>
                <a:lnTo>
                  <a:pt x="0" y="33019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4" name="object 85">
            <a:extLst>
              <a:ext uri="{FF2B5EF4-FFF2-40B4-BE49-F238E27FC236}">
                <a16:creationId xmlns:a16="http://schemas.microsoft.com/office/drawing/2014/main" id="{5A4C430E-BE1B-403B-B63D-62756A3CB9C9}"/>
              </a:ext>
            </a:extLst>
          </p:cNvPr>
          <p:cNvSpPr/>
          <p:nvPr/>
        </p:nvSpPr>
        <p:spPr>
          <a:xfrm>
            <a:off x="5333890" y="5809202"/>
            <a:ext cx="189230" cy="0"/>
          </a:xfrm>
          <a:custGeom>
            <a:avLst/>
            <a:gdLst/>
            <a:ahLst/>
            <a:cxnLst/>
            <a:rect l="l" t="t" r="r" b="b"/>
            <a:pathLst>
              <a:path w="189229">
                <a:moveTo>
                  <a:pt x="0" y="0"/>
                </a:moveTo>
                <a:lnTo>
                  <a:pt x="188722" y="0"/>
                </a:lnTo>
              </a:path>
            </a:pathLst>
          </a:custGeom>
          <a:ln w="3809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86">
            <a:extLst>
              <a:ext uri="{FF2B5EF4-FFF2-40B4-BE49-F238E27FC236}">
                <a16:creationId xmlns:a16="http://schemas.microsoft.com/office/drawing/2014/main" id="{FD4CEA36-48DC-471B-94B6-E0476E87D96A}"/>
              </a:ext>
            </a:extLst>
          </p:cNvPr>
          <p:cNvSpPr/>
          <p:nvPr/>
        </p:nvSpPr>
        <p:spPr>
          <a:xfrm>
            <a:off x="5333890" y="5774277"/>
            <a:ext cx="12700" cy="33020"/>
          </a:xfrm>
          <a:custGeom>
            <a:avLst/>
            <a:gdLst/>
            <a:ahLst/>
            <a:cxnLst/>
            <a:rect l="l" t="t" r="r" b="b"/>
            <a:pathLst>
              <a:path w="12700" h="33020">
                <a:moveTo>
                  <a:pt x="0" y="33020"/>
                </a:moveTo>
                <a:lnTo>
                  <a:pt x="12319" y="33020"/>
                </a:lnTo>
                <a:lnTo>
                  <a:pt x="12319" y="0"/>
                </a:lnTo>
                <a:lnTo>
                  <a:pt x="0" y="0"/>
                </a:lnTo>
                <a:lnTo>
                  <a:pt x="0" y="3302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6" name="object 87">
            <a:extLst>
              <a:ext uri="{FF2B5EF4-FFF2-40B4-BE49-F238E27FC236}">
                <a16:creationId xmlns:a16="http://schemas.microsoft.com/office/drawing/2014/main" id="{E56CEFD4-8B38-4C7D-B93F-D3229F963242}"/>
              </a:ext>
            </a:extLst>
          </p:cNvPr>
          <p:cNvSpPr/>
          <p:nvPr/>
        </p:nvSpPr>
        <p:spPr>
          <a:xfrm>
            <a:off x="5333890" y="5747607"/>
            <a:ext cx="189230" cy="0"/>
          </a:xfrm>
          <a:custGeom>
            <a:avLst/>
            <a:gdLst/>
            <a:ahLst/>
            <a:cxnLst/>
            <a:rect l="l" t="t" r="r" b="b"/>
            <a:pathLst>
              <a:path w="189229">
                <a:moveTo>
                  <a:pt x="0" y="0"/>
                </a:moveTo>
                <a:lnTo>
                  <a:pt x="188722" y="0"/>
                </a:lnTo>
              </a:path>
            </a:pathLst>
          </a:custGeom>
          <a:ln w="53340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7" name="object 88">
            <a:extLst>
              <a:ext uri="{FF2B5EF4-FFF2-40B4-BE49-F238E27FC236}">
                <a16:creationId xmlns:a16="http://schemas.microsoft.com/office/drawing/2014/main" id="{C7812C82-09EF-46F6-AA61-FF84183A6F9E}"/>
              </a:ext>
            </a:extLst>
          </p:cNvPr>
          <p:cNvSpPr/>
          <p:nvPr/>
        </p:nvSpPr>
        <p:spPr>
          <a:xfrm>
            <a:off x="4919489" y="5926474"/>
            <a:ext cx="8890" cy="31115"/>
          </a:xfrm>
          <a:custGeom>
            <a:avLst/>
            <a:gdLst/>
            <a:ahLst/>
            <a:cxnLst/>
            <a:rect l="l" t="t" r="r" b="b"/>
            <a:pathLst>
              <a:path w="8890" h="31115">
                <a:moveTo>
                  <a:pt x="8763" y="0"/>
                </a:moveTo>
                <a:lnTo>
                  <a:pt x="0" y="0"/>
                </a:lnTo>
                <a:lnTo>
                  <a:pt x="0" y="30721"/>
                </a:lnTo>
                <a:lnTo>
                  <a:pt x="8763" y="30721"/>
                </a:lnTo>
                <a:lnTo>
                  <a:pt x="8763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8" name="object 89">
            <a:extLst>
              <a:ext uri="{FF2B5EF4-FFF2-40B4-BE49-F238E27FC236}">
                <a16:creationId xmlns:a16="http://schemas.microsoft.com/office/drawing/2014/main" id="{A265C8AA-4C79-4149-AD22-21049211E4CD}"/>
              </a:ext>
            </a:extLst>
          </p:cNvPr>
          <p:cNvSpPr/>
          <p:nvPr/>
        </p:nvSpPr>
        <p:spPr>
          <a:xfrm>
            <a:off x="4961779" y="5926474"/>
            <a:ext cx="10795" cy="31115"/>
          </a:xfrm>
          <a:custGeom>
            <a:avLst/>
            <a:gdLst/>
            <a:ahLst/>
            <a:cxnLst/>
            <a:rect l="l" t="t" r="r" b="b"/>
            <a:pathLst>
              <a:path w="10795" h="31115">
                <a:moveTo>
                  <a:pt x="10667" y="0"/>
                </a:moveTo>
                <a:lnTo>
                  <a:pt x="0" y="0"/>
                </a:lnTo>
                <a:lnTo>
                  <a:pt x="0" y="30721"/>
                </a:lnTo>
                <a:lnTo>
                  <a:pt x="10667" y="30721"/>
                </a:lnTo>
                <a:lnTo>
                  <a:pt x="10667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9" name="object 90">
            <a:extLst>
              <a:ext uri="{FF2B5EF4-FFF2-40B4-BE49-F238E27FC236}">
                <a16:creationId xmlns:a16="http://schemas.microsoft.com/office/drawing/2014/main" id="{95F8BE4B-9A67-4028-A746-1E20D60D36DD}"/>
              </a:ext>
            </a:extLst>
          </p:cNvPr>
          <p:cNvSpPr/>
          <p:nvPr/>
        </p:nvSpPr>
        <p:spPr>
          <a:xfrm>
            <a:off x="5007627" y="5926474"/>
            <a:ext cx="8890" cy="31115"/>
          </a:xfrm>
          <a:custGeom>
            <a:avLst/>
            <a:gdLst/>
            <a:ahLst/>
            <a:cxnLst/>
            <a:rect l="l" t="t" r="r" b="b"/>
            <a:pathLst>
              <a:path w="8890" h="31115">
                <a:moveTo>
                  <a:pt x="8889" y="0"/>
                </a:moveTo>
                <a:lnTo>
                  <a:pt x="0" y="0"/>
                </a:lnTo>
                <a:lnTo>
                  <a:pt x="0" y="30721"/>
                </a:lnTo>
                <a:lnTo>
                  <a:pt x="8889" y="30721"/>
                </a:lnTo>
                <a:lnTo>
                  <a:pt x="8889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0" name="object 91">
            <a:extLst>
              <a:ext uri="{FF2B5EF4-FFF2-40B4-BE49-F238E27FC236}">
                <a16:creationId xmlns:a16="http://schemas.microsoft.com/office/drawing/2014/main" id="{71266B17-A0B5-4B69-A474-C8E63A8E8F98}"/>
              </a:ext>
            </a:extLst>
          </p:cNvPr>
          <p:cNvSpPr/>
          <p:nvPr/>
        </p:nvSpPr>
        <p:spPr>
          <a:xfrm>
            <a:off x="5050044" y="5926474"/>
            <a:ext cx="12700" cy="31115"/>
          </a:xfrm>
          <a:custGeom>
            <a:avLst/>
            <a:gdLst/>
            <a:ahLst/>
            <a:cxnLst/>
            <a:rect l="l" t="t" r="r" b="b"/>
            <a:pathLst>
              <a:path w="12700" h="31115">
                <a:moveTo>
                  <a:pt x="12319" y="0"/>
                </a:moveTo>
                <a:lnTo>
                  <a:pt x="0" y="0"/>
                </a:lnTo>
                <a:lnTo>
                  <a:pt x="0" y="30721"/>
                </a:lnTo>
                <a:lnTo>
                  <a:pt x="12319" y="30721"/>
                </a:lnTo>
                <a:lnTo>
                  <a:pt x="12319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1" name="object 92">
            <a:extLst>
              <a:ext uri="{FF2B5EF4-FFF2-40B4-BE49-F238E27FC236}">
                <a16:creationId xmlns:a16="http://schemas.microsoft.com/office/drawing/2014/main" id="{DFAD40FD-9875-453F-9F7F-20D5DE421364}"/>
              </a:ext>
            </a:extLst>
          </p:cNvPr>
          <p:cNvSpPr/>
          <p:nvPr/>
        </p:nvSpPr>
        <p:spPr>
          <a:xfrm>
            <a:off x="5381515" y="5926474"/>
            <a:ext cx="7620" cy="31115"/>
          </a:xfrm>
          <a:custGeom>
            <a:avLst/>
            <a:gdLst/>
            <a:ahLst/>
            <a:cxnLst/>
            <a:rect l="l" t="t" r="r" b="b"/>
            <a:pathLst>
              <a:path w="7620" h="31115">
                <a:moveTo>
                  <a:pt x="7112" y="0"/>
                </a:moveTo>
                <a:lnTo>
                  <a:pt x="0" y="0"/>
                </a:lnTo>
                <a:lnTo>
                  <a:pt x="0" y="30721"/>
                </a:lnTo>
                <a:lnTo>
                  <a:pt x="7112" y="30721"/>
                </a:lnTo>
                <a:lnTo>
                  <a:pt x="7112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2" name="object 93">
            <a:extLst>
              <a:ext uri="{FF2B5EF4-FFF2-40B4-BE49-F238E27FC236}">
                <a16:creationId xmlns:a16="http://schemas.microsoft.com/office/drawing/2014/main" id="{19304365-9B9E-4802-8E63-C94FD784DE00}"/>
              </a:ext>
            </a:extLst>
          </p:cNvPr>
          <p:cNvSpPr/>
          <p:nvPr/>
        </p:nvSpPr>
        <p:spPr>
          <a:xfrm>
            <a:off x="5422028" y="5926474"/>
            <a:ext cx="10795" cy="31115"/>
          </a:xfrm>
          <a:custGeom>
            <a:avLst/>
            <a:gdLst/>
            <a:ahLst/>
            <a:cxnLst/>
            <a:rect l="l" t="t" r="r" b="b"/>
            <a:pathLst>
              <a:path w="10795" h="31115">
                <a:moveTo>
                  <a:pt x="10667" y="0"/>
                </a:moveTo>
                <a:lnTo>
                  <a:pt x="0" y="0"/>
                </a:lnTo>
                <a:lnTo>
                  <a:pt x="0" y="30721"/>
                </a:lnTo>
                <a:lnTo>
                  <a:pt x="10667" y="30721"/>
                </a:lnTo>
                <a:lnTo>
                  <a:pt x="10667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3" name="object 94">
            <a:extLst>
              <a:ext uri="{FF2B5EF4-FFF2-40B4-BE49-F238E27FC236}">
                <a16:creationId xmlns:a16="http://schemas.microsoft.com/office/drawing/2014/main" id="{F889DA35-7B98-4388-9DFA-FBC36C9AFB1F}"/>
              </a:ext>
            </a:extLst>
          </p:cNvPr>
          <p:cNvSpPr/>
          <p:nvPr/>
        </p:nvSpPr>
        <p:spPr>
          <a:xfrm>
            <a:off x="5469653" y="5926474"/>
            <a:ext cx="7620" cy="31115"/>
          </a:xfrm>
          <a:custGeom>
            <a:avLst/>
            <a:gdLst/>
            <a:ahLst/>
            <a:cxnLst/>
            <a:rect l="l" t="t" r="r" b="b"/>
            <a:pathLst>
              <a:path w="7620" h="31115">
                <a:moveTo>
                  <a:pt x="7111" y="0"/>
                </a:moveTo>
                <a:lnTo>
                  <a:pt x="0" y="0"/>
                </a:lnTo>
                <a:lnTo>
                  <a:pt x="0" y="30721"/>
                </a:lnTo>
                <a:lnTo>
                  <a:pt x="7111" y="30721"/>
                </a:lnTo>
                <a:lnTo>
                  <a:pt x="7111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4" name="object 95">
            <a:extLst>
              <a:ext uri="{FF2B5EF4-FFF2-40B4-BE49-F238E27FC236}">
                <a16:creationId xmlns:a16="http://schemas.microsoft.com/office/drawing/2014/main" id="{73C52715-5B5A-4C0E-B105-1A85293B3E3F}"/>
              </a:ext>
            </a:extLst>
          </p:cNvPr>
          <p:cNvSpPr/>
          <p:nvPr/>
        </p:nvSpPr>
        <p:spPr>
          <a:xfrm>
            <a:off x="5510292" y="5926474"/>
            <a:ext cx="12700" cy="31115"/>
          </a:xfrm>
          <a:custGeom>
            <a:avLst/>
            <a:gdLst/>
            <a:ahLst/>
            <a:cxnLst/>
            <a:rect l="l" t="t" r="r" b="b"/>
            <a:pathLst>
              <a:path w="12700" h="31115">
                <a:moveTo>
                  <a:pt x="12319" y="0"/>
                </a:moveTo>
                <a:lnTo>
                  <a:pt x="0" y="0"/>
                </a:lnTo>
                <a:lnTo>
                  <a:pt x="0" y="30721"/>
                </a:lnTo>
                <a:lnTo>
                  <a:pt x="12319" y="30721"/>
                </a:lnTo>
                <a:lnTo>
                  <a:pt x="12319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5" name="object 96">
            <a:extLst>
              <a:ext uri="{FF2B5EF4-FFF2-40B4-BE49-F238E27FC236}">
                <a16:creationId xmlns:a16="http://schemas.microsoft.com/office/drawing/2014/main" id="{4A5BBE2D-F1D9-4A43-A49D-8071C642A33C}"/>
              </a:ext>
            </a:extLst>
          </p:cNvPr>
          <p:cNvSpPr/>
          <p:nvPr/>
        </p:nvSpPr>
        <p:spPr>
          <a:xfrm>
            <a:off x="4919489" y="5889263"/>
            <a:ext cx="8890" cy="31115"/>
          </a:xfrm>
          <a:custGeom>
            <a:avLst/>
            <a:gdLst/>
            <a:ahLst/>
            <a:cxnLst/>
            <a:rect l="l" t="t" r="r" b="b"/>
            <a:pathLst>
              <a:path w="8890" h="31114">
                <a:moveTo>
                  <a:pt x="8763" y="0"/>
                </a:moveTo>
                <a:lnTo>
                  <a:pt x="0" y="0"/>
                </a:lnTo>
                <a:lnTo>
                  <a:pt x="0" y="30733"/>
                </a:lnTo>
                <a:lnTo>
                  <a:pt x="8763" y="30733"/>
                </a:lnTo>
                <a:lnTo>
                  <a:pt x="8763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6" name="object 97">
            <a:extLst>
              <a:ext uri="{FF2B5EF4-FFF2-40B4-BE49-F238E27FC236}">
                <a16:creationId xmlns:a16="http://schemas.microsoft.com/office/drawing/2014/main" id="{C15F48AD-7422-4368-A7E7-04BA4822F4F5}"/>
              </a:ext>
            </a:extLst>
          </p:cNvPr>
          <p:cNvSpPr/>
          <p:nvPr/>
        </p:nvSpPr>
        <p:spPr>
          <a:xfrm>
            <a:off x="4961779" y="5889263"/>
            <a:ext cx="10795" cy="31115"/>
          </a:xfrm>
          <a:custGeom>
            <a:avLst/>
            <a:gdLst/>
            <a:ahLst/>
            <a:cxnLst/>
            <a:rect l="l" t="t" r="r" b="b"/>
            <a:pathLst>
              <a:path w="10795" h="31114">
                <a:moveTo>
                  <a:pt x="10667" y="0"/>
                </a:moveTo>
                <a:lnTo>
                  <a:pt x="0" y="0"/>
                </a:lnTo>
                <a:lnTo>
                  <a:pt x="0" y="30733"/>
                </a:lnTo>
                <a:lnTo>
                  <a:pt x="10667" y="30733"/>
                </a:lnTo>
                <a:lnTo>
                  <a:pt x="10667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7" name="object 98">
            <a:extLst>
              <a:ext uri="{FF2B5EF4-FFF2-40B4-BE49-F238E27FC236}">
                <a16:creationId xmlns:a16="http://schemas.microsoft.com/office/drawing/2014/main" id="{D515D646-044C-4F8C-966D-77FC036F43B5}"/>
              </a:ext>
            </a:extLst>
          </p:cNvPr>
          <p:cNvSpPr/>
          <p:nvPr/>
        </p:nvSpPr>
        <p:spPr>
          <a:xfrm>
            <a:off x="5007627" y="5889263"/>
            <a:ext cx="8890" cy="31115"/>
          </a:xfrm>
          <a:custGeom>
            <a:avLst/>
            <a:gdLst/>
            <a:ahLst/>
            <a:cxnLst/>
            <a:rect l="l" t="t" r="r" b="b"/>
            <a:pathLst>
              <a:path w="8890" h="31114">
                <a:moveTo>
                  <a:pt x="8889" y="0"/>
                </a:moveTo>
                <a:lnTo>
                  <a:pt x="0" y="0"/>
                </a:lnTo>
                <a:lnTo>
                  <a:pt x="0" y="30733"/>
                </a:lnTo>
                <a:lnTo>
                  <a:pt x="8889" y="30733"/>
                </a:lnTo>
                <a:lnTo>
                  <a:pt x="8889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8" name="object 99">
            <a:extLst>
              <a:ext uri="{FF2B5EF4-FFF2-40B4-BE49-F238E27FC236}">
                <a16:creationId xmlns:a16="http://schemas.microsoft.com/office/drawing/2014/main" id="{7A9D8BBE-D1E3-44B2-B82A-8E03A37355A1}"/>
              </a:ext>
            </a:extLst>
          </p:cNvPr>
          <p:cNvSpPr/>
          <p:nvPr/>
        </p:nvSpPr>
        <p:spPr>
          <a:xfrm>
            <a:off x="5050044" y="5889263"/>
            <a:ext cx="12700" cy="31115"/>
          </a:xfrm>
          <a:custGeom>
            <a:avLst/>
            <a:gdLst/>
            <a:ahLst/>
            <a:cxnLst/>
            <a:rect l="l" t="t" r="r" b="b"/>
            <a:pathLst>
              <a:path w="12700" h="31114">
                <a:moveTo>
                  <a:pt x="12319" y="0"/>
                </a:moveTo>
                <a:lnTo>
                  <a:pt x="0" y="0"/>
                </a:lnTo>
                <a:lnTo>
                  <a:pt x="0" y="30733"/>
                </a:lnTo>
                <a:lnTo>
                  <a:pt x="12319" y="30733"/>
                </a:lnTo>
                <a:lnTo>
                  <a:pt x="12319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9" name="object 100">
            <a:extLst>
              <a:ext uri="{FF2B5EF4-FFF2-40B4-BE49-F238E27FC236}">
                <a16:creationId xmlns:a16="http://schemas.microsoft.com/office/drawing/2014/main" id="{F7D97B23-046F-4646-92C2-8A68F8D8BE12}"/>
              </a:ext>
            </a:extLst>
          </p:cNvPr>
          <p:cNvSpPr/>
          <p:nvPr/>
        </p:nvSpPr>
        <p:spPr>
          <a:xfrm>
            <a:off x="5379737" y="5889263"/>
            <a:ext cx="8890" cy="31115"/>
          </a:xfrm>
          <a:custGeom>
            <a:avLst/>
            <a:gdLst/>
            <a:ahLst/>
            <a:cxnLst/>
            <a:rect l="l" t="t" r="r" b="b"/>
            <a:pathLst>
              <a:path w="8890" h="31114">
                <a:moveTo>
                  <a:pt x="8890" y="0"/>
                </a:moveTo>
                <a:lnTo>
                  <a:pt x="0" y="0"/>
                </a:lnTo>
                <a:lnTo>
                  <a:pt x="0" y="30733"/>
                </a:lnTo>
                <a:lnTo>
                  <a:pt x="8890" y="30733"/>
                </a:lnTo>
                <a:lnTo>
                  <a:pt x="8890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0" name="object 101">
            <a:extLst>
              <a:ext uri="{FF2B5EF4-FFF2-40B4-BE49-F238E27FC236}">
                <a16:creationId xmlns:a16="http://schemas.microsoft.com/office/drawing/2014/main" id="{F72DAEC1-0DE2-42EB-8BA7-2326E342C94E}"/>
              </a:ext>
            </a:extLst>
          </p:cNvPr>
          <p:cNvSpPr/>
          <p:nvPr/>
        </p:nvSpPr>
        <p:spPr>
          <a:xfrm>
            <a:off x="5422028" y="5889263"/>
            <a:ext cx="10795" cy="31115"/>
          </a:xfrm>
          <a:custGeom>
            <a:avLst/>
            <a:gdLst/>
            <a:ahLst/>
            <a:cxnLst/>
            <a:rect l="l" t="t" r="r" b="b"/>
            <a:pathLst>
              <a:path w="10795" h="31114">
                <a:moveTo>
                  <a:pt x="10667" y="0"/>
                </a:moveTo>
                <a:lnTo>
                  <a:pt x="0" y="0"/>
                </a:lnTo>
                <a:lnTo>
                  <a:pt x="0" y="30733"/>
                </a:lnTo>
                <a:lnTo>
                  <a:pt x="10667" y="30733"/>
                </a:lnTo>
                <a:lnTo>
                  <a:pt x="10667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1" name="object 102">
            <a:extLst>
              <a:ext uri="{FF2B5EF4-FFF2-40B4-BE49-F238E27FC236}">
                <a16:creationId xmlns:a16="http://schemas.microsoft.com/office/drawing/2014/main" id="{D6FF1A46-F6E6-480E-BD69-B6AF8621B565}"/>
              </a:ext>
            </a:extLst>
          </p:cNvPr>
          <p:cNvSpPr/>
          <p:nvPr/>
        </p:nvSpPr>
        <p:spPr>
          <a:xfrm>
            <a:off x="5468002" y="5889263"/>
            <a:ext cx="8890" cy="31115"/>
          </a:xfrm>
          <a:custGeom>
            <a:avLst/>
            <a:gdLst/>
            <a:ahLst/>
            <a:cxnLst/>
            <a:rect l="l" t="t" r="r" b="b"/>
            <a:pathLst>
              <a:path w="8890" h="31114">
                <a:moveTo>
                  <a:pt x="8762" y="0"/>
                </a:moveTo>
                <a:lnTo>
                  <a:pt x="0" y="0"/>
                </a:lnTo>
                <a:lnTo>
                  <a:pt x="0" y="30733"/>
                </a:lnTo>
                <a:lnTo>
                  <a:pt x="8762" y="30733"/>
                </a:lnTo>
                <a:lnTo>
                  <a:pt x="8762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2" name="object 103">
            <a:extLst>
              <a:ext uri="{FF2B5EF4-FFF2-40B4-BE49-F238E27FC236}">
                <a16:creationId xmlns:a16="http://schemas.microsoft.com/office/drawing/2014/main" id="{4071EF1C-9F9C-4F4C-A719-B89314B86357}"/>
              </a:ext>
            </a:extLst>
          </p:cNvPr>
          <p:cNvSpPr/>
          <p:nvPr/>
        </p:nvSpPr>
        <p:spPr>
          <a:xfrm>
            <a:off x="5510292" y="5889263"/>
            <a:ext cx="12700" cy="31115"/>
          </a:xfrm>
          <a:custGeom>
            <a:avLst/>
            <a:gdLst/>
            <a:ahLst/>
            <a:cxnLst/>
            <a:rect l="l" t="t" r="r" b="b"/>
            <a:pathLst>
              <a:path w="12700" h="31114">
                <a:moveTo>
                  <a:pt x="12319" y="0"/>
                </a:moveTo>
                <a:lnTo>
                  <a:pt x="0" y="0"/>
                </a:lnTo>
                <a:lnTo>
                  <a:pt x="0" y="30733"/>
                </a:lnTo>
                <a:lnTo>
                  <a:pt x="12319" y="30733"/>
                </a:lnTo>
                <a:lnTo>
                  <a:pt x="12319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3" name="object 104">
            <a:extLst>
              <a:ext uri="{FF2B5EF4-FFF2-40B4-BE49-F238E27FC236}">
                <a16:creationId xmlns:a16="http://schemas.microsoft.com/office/drawing/2014/main" id="{E31AC2F1-FC6F-4F5E-8C40-3E643B4373D6}"/>
              </a:ext>
            </a:extLst>
          </p:cNvPr>
          <p:cNvSpPr/>
          <p:nvPr/>
        </p:nvSpPr>
        <p:spPr>
          <a:xfrm>
            <a:off x="5238640" y="5811628"/>
            <a:ext cx="8890" cy="32384"/>
          </a:xfrm>
          <a:custGeom>
            <a:avLst/>
            <a:gdLst/>
            <a:ahLst/>
            <a:cxnLst/>
            <a:rect l="l" t="t" r="r" b="b"/>
            <a:pathLst>
              <a:path w="8890" h="32385">
                <a:moveTo>
                  <a:pt x="8890" y="0"/>
                </a:moveTo>
                <a:lnTo>
                  <a:pt x="0" y="0"/>
                </a:lnTo>
                <a:lnTo>
                  <a:pt x="0" y="32346"/>
                </a:lnTo>
                <a:lnTo>
                  <a:pt x="8890" y="32346"/>
                </a:lnTo>
                <a:lnTo>
                  <a:pt x="8890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4" name="object 105">
            <a:extLst>
              <a:ext uri="{FF2B5EF4-FFF2-40B4-BE49-F238E27FC236}">
                <a16:creationId xmlns:a16="http://schemas.microsoft.com/office/drawing/2014/main" id="{16558411-DDD1-48EC-A191-885DCEDD4E53}"/>
              </a:ext>
            </a:extLst>
          </p:cNvPr>
          <p:cNvSpPr/>
          <p:nvPr/>
        </p:nvSpPr>
        <p:spPr>
          <a:xfrm>
            <a:off x="5281057" y="5811628"/>
            <a:ext cx="42545" cy="32384"/>
          </a:xfrm>
          <a:custGeom>
            <a:avLst/>
            <a:gdLst/>
            <a:ahLst/>
            <a:cxnLst/>
            <a:rect l="l" t="t" r="r" b="b"/>
            <a:pathLst>
              <a:path w="42545" h="32385">
                <a:moveTo>
                  <a:pt x="42291" y="0"/>
                </a:moveTo>
                <a:lnTo>
                  <a:pt x="0" y="0"/>
                </a:lnTo>
                <a:lnTo>
                  <a:pt x="0" y="32346"/>
                </a:lnTo>
                <a:lnTo>
                  <a:pt x="42291" y="32346"/>
                </a:lnTo>
                <a:lnTo>
                  <a:pt x="42291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5" name="object 106">
            <a:extLst>
              <a:ext uri="{FF2B5EF4-FFF2-40B4-BE49-F238E27FC236}">
                <a16:creationId xmlns:a16="http://schemas.microsoft.com/office/drawing/2014/main" id="{EE350DDB-AA56-4D04-89B4-EEECD295F5C7}"/>
              </a:ext>
            </a:extLst>
          </p:cNvPr>
          <p:cNvSpPr/>
          <p:nvPr/>
        </p:nvSpPr>
        <p:spPr>
          <a:xfrm>
            <a:off x="5381515" y="5811628"/>
            <a:ext cx="7620" cy="32384"/>
          </a:xfrm>
          <a:custGeom>
            <a:avLst/>
            <a:gdLst/>
            <a:ahLst/>
            <a:cxnLst/>
            <a:rect l="l" t="t" r="r" b="b"/>
            <a:pathLst>
              <a:path w="7620" h="32385">
                <a:moveTo>
                  <a:pt x="7112" y="0"/>
                </a:moveTo>
                <a:lnTo>
                  <a:pt x="0" y="0"/>
                </a:lnTo>
                <a:lnTo>
                  <a:pt x="0" y="32346"/>
                </a:lnTo>
                <a:lnTo>
                  <a:pt x="7112" y="32346"/>
                </a:lnTo>
                <a:lnTo>
                  <a:pt x="7112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6" name="object 107">
            <a:extLst>
              <a:ext uri="{FF2B5EF4-FFF2-40B4-BE49-F238E27FC236}">
                <a16:creationId xmlns:a16="http://schemas.microsoft.com/office/drawing/2014/main" id="{83FE2F86-D5A7-4F5C-88F9-9CA3D84E39C1}"/>
              </a:ext>
            </a:extLst>
          </p:cNvPr>
          <p:cNvSpPr/>
          <p:nvPr/>
        </p:nvSpPr>
        <p:spPr>
          <a:xfrm>
            <a:off x="5422028" y="5811628"/>
            <a:ext cx="10795" cy="32384"/>
          </a:xfrm>
          <a:custGeom>
            <a:avLst/>
            <a:gdLst/>
            <a:ahLst/>
            <a:cxnLst/>
            <a:rect l="l" t="t" r="r" b="b"/>
            <a:pathLst>
              <a:path w="10795" h="32385">
                <a:moveTo>
                  <a:pt x="10667" y="0"/>
                </a:moveTo>
                <a:lnTo>
                  <a:pt x="0" y="0"/>
                </a:lnTo>
                <a:lnTo>
                  <a:pt x="0" y="32346"/>
                </a:lnTo>
                <a:lnTo>
                  <a:pt x="10667" y="32346"/>
                </a:lnTo>
                <a:lnTo>
                  <a:pt x="10667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7" name="object 108">
            <a:extLst>
              <a:ext uri="{FF2B5EF4-FFF2-40B4-BE49-F238E27FC236}">
                <a16:creationId xmlns:a16="http://schemas.microsoft.com/office/drawing/2014/main" id="{B99D5425-CA8A-4855-85CB-C85190493A4D}"/>
              </a:ext>
            </a:extLst>
          </p:cNvPr>
          <p:cNvSpPr/>
          <p:nvPr/>
        </p:nvSpPr>
        <p:spPr>
          <a:xfrm>
            <a:off x="5469653" y="5811628"/>
            <a:ext cx="7620" cy="32384"/>
          </a:xfrm>
          <a:custGeom>
            <a:avLst/>
            <a:gdLst/>
            <a:ahLst/>
            <a:cxnLst/>
            <a:rect l="l" t="t" r="r" b="b"/>
            <a:pathLst>
              <a:path w="7620" h="32385">
                <a:moveTo>
                  <a:pt x="7111" y="0"/>
                </a:moveTo>
                <a:lnTo>
                  <a:pt x="0" y="0"/>
                </a:lnTo>
                <a:lnTo>
                  <a:pt x="0" y="32346"/>
                </a:lnTo>
                <a:lnTo>
                  <a:pt x="7111" y="32346"/>
                </a:lnTo>
                <a:lnTo>
                  <a:pt x="7111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8" name="object 109">
            <a:extLst>
              <a:ext uri="{FF2B5EF4-FFF2-40B4-BE49-F238E27FC236}">
                <a16:creationId xmlns:a16="http://schemas.microsoft.com/office/drawing/2014/main" id="{57BE51EE-8575-47DA-A236-056A701ED128}"/>
              </a:ext>
            </a:extLst>
          </p:cNvPr>
          <p:cNvSpPr/>
          <p:nvPr/>
        </p:nvSpPr>
        <p:spPr>
          <a:xfrm>
            <a:off x="5510292" y="5811628"/>
            <a:ext cx="12700" cy="32384"/>
          </a:xfrm>
          <a:custGeom>
            <a:avLst/>
            <a:gdLst/>
            <a:ahLst/>
            <a:cxnLst/>
            <a:rect l="l" t="t" r="r" b="b"/>
            <a:pathLst>
              <a:path w="12700" h="32385">
                <a:moveTo>
                  <a:pt x="12319" y="0"/>
                </a:moveTo>
                <a:lnTo>
                  <a:pt x="0" y="0"/>
                </a:lnTo>
                <a:lnTo>
                  <a:pt x="0" y="32346"/>
                </a:lnTo>
                <a:lnTo>
                  <a:pt x="12319" y="32346"/>
                </a:lnTo>
                <a:lnTo>
                  <a:pt x="12319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9" name="object 110">
            <a:extLst>
              <a:ext uri="{FF2B5EF4-FFF2-40B4-BE49-F238E27FC236}">
                <a16:creationId xmlns:a16="http://schemas.microsoft.com/office/drawing/2014/main" id="{65E85A9D-C443-435E-AEF3-60A13A27F50B}"/>
              </a:ext>
            </a:extLst>
          </p:cNvPr>
          <p:cNvSpPr/>
          <p:nvPr/>
        </p:nvSpPr>
        <p:spPr>
          <a:xfrm>
            <a:off x="4923870" y="5774430"/>
            <a:ext cx="0" cy="69850"/>
          </a:xfrm>
          <a:custGeom>
            <a:avLst/>
            <a:gdLst/>
            <a:ahLst/>
            <a:cxnLst/>
            <a:rect l="l" t="t" r="r" b="b"/>
            <a:pathLst>
              <a:path h="69850">
                <a:moveTo>
                  <a:pt x="0" y="69545"/>
                </a:moveTo>
                <a:lnTo>
                  <a:pt x="0" y="0"/>
                </a:lnTo>
                <a:lnTo>
                  <a:pt x="0" y="69545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0" name="object 111">
            <a:extLst>
              <a:ext uri="{FF2B5EF4-FFF2-40B4-BE49-F238E27FC236}">
                <a16:creationId xmlns:a16="http://schemas.microsoft.com/office/drawing/2014/main" id="{AE3C3E8D-E01A-4CF9-8142-768D0749C7AE}"/>
              </a:ext>
            </a:extLst>
          </p:cNvPr>
          <p:cNvSpPr/>
          <p:nvPr/>
        </p:nvSpPr>
        <p:spPr>
          <a:xfrm>
            <a:off x="4967114" y="5774430"/>
            <a:ext cx="0" cy="69850"/>
          </a:xfrm>
          <a:custGeom>
            <a:avLst/>
            <a:gdLst/>
            <a:ahLst/>
            <a:cxnLst/>
            <a:rect l="l" t="t" r="r" b="b"/>
            <a:pathLst>
              <a:path h="69850">
                <a:moveTo>
                  <a:pt x="0" y="69545"/>
                </a:moveTo>
                <a:lnTo>
                  <a:pt x="0" y="0"/>
                </a:lnTo>
                <a:lnTo>
                  <a:pt x="0" y="69545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1" name="object 112">
            <a:extLst>
              <a:ext uri="{FF2B5EF4-FFF2-40B4-BE49-F238E27FC236}">
                <a16:creationId xmlns:a16="http://schemas.microsoft.com/office/drawing/2014/main" id="{D4BABCF2-AFD6-4DD0-9E0B-1D0D4F7E84BF}"/>
              </a:ext>
            </a:extLst>
          </p:cNvPr>
          <p:cNvSpPr/>
          <p:nvPr/>
        </p:nvSpPr>
        <p:spPr>
          <a:xfrm>
            <a:off x="5012071" y="5774430"/>
            <a:ext cx="0" cy="69850"/>
          </a:xfrm>
          <a:custGeom>
            <a:avLst/>
            <a:gdLst/>
            <a:ahLst/>
            <a:cxnLst/>
            <a:rect l="l" t="t" r="r" b="b"/>
            <a:pathLst>
              <a:path h="69850">
                <a:moveTo>
                  <a:pt x="0" y="69545"/>
                </a:moveTo>
                <a:lnTo>
                  <a:pt x="0" y="0"/>
                </a:lnTo>
                <a:lnTo>
                  <a:pt x="0" y="69545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2" name="object 113">
            <a:extLst>
              <a:ext uri="{FF2B5EF4-FFF2-40B4-BE49-F238E27FC236}">
                <a16:creationId xmlns:a16="http://schemas.microsoft.com/office/drawing/2014/main" id="{FA5D9D08-A8FB-46AA-B434-52F6F3B78A0C}"/>
              </a:ext>
            </a:extLst>
          </p:cNvPr>
          <p:cNvSpPr/>
          <p:nvPr/>
        </p:nvSpPr>
        <p:spPr>
          <a:xfrm>
            <a:off x="5056204" y="5774430"/>
            <a:ext cx="0" cy="69850"/>
          </a:xfrm>
          <a:custGeom>
            <a:avLst/>
            <a:gdLst/>
            <a:ahLst/>
            <a:cxnLst/>
            <a:rect l="l" t="t" r="r" b="b"/>
            <a:pathLst>
              <a:path h="69850">
                <a:moveTo>
                  <a:pt x="0" y="69545"/>
                </a:moveTo>
                <a:lnTo>
                  <a:pt x="0" y="0"/>
                </a:lnTo>
                <a:lnTo>
                  <a:pt x="0" y="69545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3" name="object 114">
            <a:extLst>
              <a:ext uri="{FF2B5EF4-FFF2-40B4-BE49-F238E27FC236}">
                <a16:creationId xmlns:a16="http://schemas.microsoft.com/office/drawing/2014/main" id="{94A80D48-D53E-476B-BBEE-DE2E1D954F0E}"/>
              </a:ext>
            </a:extLst>
          </p:cNvPr>
          <p:cNvSpPr/>
          <p:nvPr/>
        </p:nvSpPr>
        <p:spPr>
          <a:xfrm>
            <a:off x="5154883" y="5774430"/>
            <a:ext cx="0" cy="69850"/>
          </a:xfrm>
          <a:custGeom>
            <a:avLst/>
            <a:gdLst/>
            <a:ahLst/>
            <a:cxnLst/>
            <a:rect l="l" t="t" r="r" b="b"/>
            <a:pathLst>
              <a:path h="69850">
                <a:moveTo>
                  <a:pt x="0" y="69545"/>
                </a:moveTo>
                <a:lnTo>
                  <a:pt x="0" y="0"/>
                </a:lnTo>
                <a:lnTo>
                  <a:pt x="0" y="69545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4" name="object 115">
            <a:extLst>
              <a:ext uri="{FF2B5EF4-FFF2-40B4-BE49-F238E27FC236}">
                <a16:creationId xmlns:a16="http://schemas.microsoft.com/office/drawing/2014/main" id="{F383A928-BF67-4EAB-B318-BCF3F11B0ED8}"/>
              </a:ext>
            </a:extLst>
          </p:cNvPr>
          <p:cNvSpPr/>
          <p:nvPr/>
        </p:nvSpPr>
        <p:spPr>
          <a:xfrm>
            <a:off x="5198127" y="5774430"/>
            <a:ext cx="0" cy="69850"/>
          </a:xfrm>
          <a:custGeom>
            <a:avLst/>
            <a:gdLst/>
            <a:ahLst/>
            <a:cxnLst/>
            <a:rect l="l" t="t" r="r" b="b"/>
            <a:pathLst>
              <a:path h="69850">
                <a:moveTo>
                  <a:pt x="0" y="69545"/>
                </a:moveTo>
                <a:lnTo>
                  <a:pt x="0" y="0"/>
                </a:lnTo>
                <a:lnTo>
                  <a:pt x="0" y="69545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5" name="object 116">
            <a:extLst>
              <a:ext uri="{FF2B5EF4-FFF2-40B4-BE49-F238E27FC236}">
                <a16:creationId xmlns:a16="http://schemas.microsoft.com/office/drawing/2014/main" id="{164C7ECD-1D82-4B1E-945C-36FF7D696AB2}"/>
              </a:ext>
            </a:extLst>
          </p:cNvPr>
          <p:cNvSpPr/>
          <p:nvPr/>
        </p:nvSpPr>
        <p:spPr>
          <a:xfrm>
            <a:off x="5238640" y="5774430"/>
            <a:ext cx="5715" cy="32384"/>
          </a:xfrm>
          <a:custGeom>
            <a:avLst/>
            <a:gdLst/>
            <a:ahLst/>
            <a:cxnLst/>
            <a:rect l="l" t="t" r="r" b="b"/>
            <a:pathLst>
              <a:path w="5715" h="32385">
                <a:moveTo>
                  <a:pt x="5334" y="0"/>
                </a:moveTo>
                <a:lnTo>
                  <a:pt x="0" y="0"/>
                </a:lnTo>
                <a:lnTo>
                  <a:pt x="0" y="32346"/>
                </a:lnTo>
                <a:lnTo>
                  <a:pt x="5334" y="32346"/>
                </a:lnTo>
                <a:lnTo>
                  <a:pt x="5334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6" name="object 117">
            <a:extLst>
              <a:ext uri="{FF2B5EF4-FFF2-40B4-BE49-F238E27FC236}">
                <a16:creationId xmlns:a16="http://schemas.microsoft.com/office/drawing/2014/main" id="{97E5C796-BC0B-43AF-A189-63B613425A39}"/>
              </a:ext>
            </a:extLst>
          </p:cNvPr>
          <p:cNvSpPr/>
          <p:nvPr/>
        </p:nvSpPr>
        <p:spPr>
          <a:xfrm>
            <a:off x="5279279" y="5774430"/>
            <a:ext cx="44450" cy="32384"/>
          </a:xfrm>
          <a:custGeom>
            <a:avLst/>
            <a:gdLst/>
            <a:ahLst/>
            <a:cxnLst/>
            <a:rect l="l" t="t" r="r" b="b"/>
            <a:pathLst>
              <a:path w="44450" h="32385">
                <a:moveTo>
                  <a:pt x="44069" y="0"/>
                </a:moveTo>
                <a:lnTo>
                  <a:pt x="0" y="0"/>
                </a:lnTo>
                <a:lnTo>
                  <a:pt x="0" y="32346"/>
                </a:lnTo>
                <a:lnTo>
                  <a:pt x="44069" y="32346"/>
                </a:lnTo>
                <a:lnTo>
                  <a:pt x="44069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7" name="object 118">
            <a:extLst>
              <a:ext uri="{FF2B5EF4-FFF2-40B4-BE49-F238E27FC236}">
                <a16:creationId xmlns:a16="http://schemas.microsoft.com/office/drawing/2014/main" id="{B90F0DB0-7CEE-46D6-974A-A1537F8ABC8B}"/>
              </a:ext>
            </a:extLst>
          </p:cNvPr>
          <p:cNvSpPr/>
          <p:nvPr/>
        </p:nvSpPr>
        <p:spPr>
          <a:xfrm>
            <a:off x="5379737" y="5774430"/>
            <a:ext cx="8890" cy="32384"/>
          </a:xfrm>
          <a:custGeom>
            <a:avLst/>
            <a:gdLst/>
            <a:ahLst/>
            <a:cxnLst/>
            <a:rect l="l" t="t" r="r" b="b"/>
            <a:pathLst>
              <a:path w="8890" h="32385">
                <a:moveTo>
                  <a:pt x="8890" y="0"/>
                </a:moveTo>
                <a:lnTo>
                  <a:pt x="0" y="0"/>
                </a:lnTo>
                <a:lnTo>
                  <a:pt x="0" y="32346"/>
                </a:lnTo>
                <a:lnTo>
                  <a:pt x="8890" y="32346"/>
                </a:lnTo>
                <a:lnTo>
                  <a:pt x="8890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8" name="object 119">
            <a:extLst>
              <a:ext uri="{FF2B5EF4-FFF2-40B4-BE49-F238E27FC236}">
                <a16:creationId xmlns:a16="http://schemas.microsoft.com/office/drawing/2014/main" id="{9FECFB20-E285-47FA-A5DE-4507232E2195}"/>
              </a:ext>
            </a:extLst>
          </p:cNvPr>
          <p:cNvSpPr/>
          <p:nvPr/>
        </p:nvSpPr>
        <p:spPr>
          <a:xfrm>
            <a:off x="5422028" y="5774430"/>
            <a:ext cx="10795" cy="32384"/>
          </a:xfrm>
          <a:custGeom>
            <a:avLst/>
            <a:gdLst/>
            <a:ahLst/>
            <a:cxnLst/>
            <a:rect l="l" t="t" r="r" b="b"/>
            <a:pathLst>
              <a:path w="10795" h="32385">
                <a:moveTo>
                  <a:pt x="10667" y="0"/>
                </a:moveTo>
                <a:lnTo>
                  <a:pt x="0" y="0"/>
                </a:lnTo>
                <a:lnTo>
                  <a:pt x="0" y="32346"/>
                </a:lnTo>
                <a:lnTo>
                  <a:pt x="10667" y="32346"/>
                </a:lnTo>
                <a:lnTo>
                  <a:pt x="10667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9" name="object 120">
            <a:extLst>
              <a:ext uri="{FF2B5EF4-FFF2-40B4-BE49-F238E27FC236}">
                <a16:creationId xmlns:a16="http://schemas.microsoft.com/office/drawing/2014/main" id="{CAF92386-3FB5-4249-BA19-769C176DEB38}"/>
              </a:ext>
            </a:extLst>
          </p:cNvPr>
          <p:cNvSpPr/>
          <p:nvPr/>
        </p:nvSpPr>
        <p:spPr>
          <a:xfrm>
            <a:off x="5468002" y="5774430"/>
            <a:ext cx="8890" cy="32384"/>
          </a:xfrm>
          <a:custGeom>
            <a:avLst/>
            <a:gdLst/>
            <a:ahLst/>
            <a:cxnLst/>
            <a:rect l="l" t="t" r="r" b="b"/>
            <a:pathLst>
              <a:path w="8890" h="32385">
                <a:moveTo>
                  <a:pt x="8762" y="0"/>
                </a:moveTo>
                <a:lnTo>
                  <a:pt x="0" y="0"/>
                </a:lnTo>
                <a:lnTo>
                  <a:pt x="0" y="32346"/>
                </a:lnTo>
                <a:lnTo>
                  <a:pt x="8762" y="32346"/>
                </a:lnTo>
                <a:lnTo>
                  <a:pt x="8762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0" name="object 121">
            <a:extLst>
              <a:ext uri="{FF2B5EF4-FFF2-40B4-BE49-F238E27FC236}">
                <a16:creationId xmlns:a16="http://schemas.microsoft.com/office/drawing/2014/main" id="{726396B8-7F6C-4F34-A8A2-3C2E86FF1A24}"/>
              </a:ext>
            </a:extLst>
          </p:cNvPr>
          <p:cNvSpPr/>
          <p:nvPr/>
        </p:nvSpPr>
        <p:spPr>
          <a:xfrm>
            <a:off x="5510292" y="5774430"/>
            <a:ext cx="12700" cy="32384"/>
          </a:xfrm>
          <a:custGeom>
            <a:avLst/>
            <a:gdLst/>
            <a:ahLst/>
            <a:cxnLst/>
            <a:rect l="l" t="t" r="r" b="b"/>
            <a:pathLst>
              <a:path w="12700" h="32385">
                <a:moveTo>
                  <a:pt x="12319" y="0"/>
                </a:moveTo>
                <a:lnTo>
                  <a:pt x="0" y="0"/>
                </a:lnTo>
                <a:lnTo>
                  <a:pt x="0" y="32346"/>
                </a:lnTo>
                <a:lnTo>
                  <a:pt x="12319" y="32346"/>
                </a:lnTo>
                <a:lnTo>
                  <a:pt x="12319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1" name="object 122">
            <a:extLst>
              <a:ext uri="{FF2B5EF4-FFF2-40B4-BE49-F238E27FC236}">
                <a16:creationId xmlns:a16="http://schemas.microsoft.com/office/drawing/2014/main" id="{E79A5846-34A3-4B06-95BF-2EA85715C41A}"/>
              </a:ext>
            </a:extLst>
          </p:cNvPr>
          <p:cNvSpPr/>
          <p:nvPr/>
        </p:nvSpPr>
        <p:spPr>
          <a:xfrm>
            <a:off x="5214002" y="5746973"/>
            <a:ext cx="109855" cy="0"/>
          </a:xfrm>
          <a:custGeom>
            <a:avLst/>
            <a:gdLst/>
            <a:ahLst/>
            <a:cxnLst/>
            <a:rect l="l" t="t" r="r" b="b"/>
            <a:pathLst>
              <a:path w="109854">
                <a:moveTo>
                  <a:pt x="0" y="0"/>
                </a:moveTo>
                <a:lnTo>
                  <a:pt x="109347" y="0"/>
                </a:lnTo>
              </a:path>
            </a:pathLst>
          </a:custGeom>
          <a:ln w="31750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2" name="object 123">
            <a:extLst>
              <a:ext uri="{FF2B5EF4-FFF2-40B4-BE49-F238E27FC236}">
                <a16:creationId xmlns:a16="http://schemas.microsoft.com/office/drawing/2014/main" id="{28F4ABBE-ED85-4516-B464-0528679D676D}"/>
              </a:ext>
            </a:extLst>
          </p:cNvPr>
          <p:cNvSpPr/>
          <p:nvPr/>
        </p:nvSpPr>
        <p:spPr>
          <a:xfrm>
            <a:off x="5249307" y="5700618"/>
            <a:ext cx="74295" cy="30480"/>
          </a:xfrm>
          <a:custGeom>
            <a:avLst/>
            <a:gdLst/>
            <a:ahLst/>
            <a:cxnLst/>
            <a:rect l="l" t="t" r="r" b="b"/>
            <a:pathLst>
              <a:path w="74295" h="30479">
                <a:moveTo>
                  <a:pt x="0" y="30479"/>
                </a:moveTo>
                <a:lnTo>
                  <a:pt x="74041" y="30479"/>
                </a:lnTo>
                <a:lnTo>
                  <a:pt x="74041" y="0"/>
                </a:lnTo>
                <a:lnTo>
                  <a:pt x="0" y="0"/>
                </a:lnTo>
                <a:lnTo>
                  <a:pt x="0" y="30479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3" name="object 124">
            <a:extLst>
              <a:ext uri="{FF2B5EF4-FFF2-40B4-BE49-F238E27FC236}">
                <a16:creationId xmlns:a16="http://schemas.microsoft.com/office/drawing/2014/main" id="{15A6938D-2A72-4710-82B7-5AC81BEB9417}"/>
              </a:ext>
            </a:extLst>
          </p:cNvPr>
          <p:cNvSpPr/>
          <p:nvPr/>
        </p:nvSpPr>
        <p:spPr>
          <a:xfrm>
            <a:off x="5214002" y="5684743"/>
            <a:ext cx="109855" cy="0"/>
          </a:xfrm>
          <a:custGeom>
            <a:avLst/>
            <a:gdLst/>
            <a:ahLst/>
            <a:cxnLst/>
            <a:rect l="l" t="t" r="r" b="b"/>
            <a:pathLst>
              <a:path w="109854">
                <a:moveTo>
                  <a:pt x="0" y="0"/>
                </a:moveTo>
                <a:lnTo>
                  <a:pt x="109347" y="0"/>
                </a:lnTo>
              </a:path>
            </a:pathLst>
          </a:custGeom>
          <a:ln w="31750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4" name="object 125">
            <a:extLst>
              <a:ext uri="{FF2B5EF4-FFF2-40B4-BE49-F238E27FC236}">
                <a16:creationId xmlns:a16="http://schemas.microsoft.com/office/drawing/2014/main" id="{662450FD-1EB2-4849-B0B7-A19A85A3FC6A}"/>
              </a:ext>
            </a:extLst>
          </p:cNvPr>
          <p:cNvSpPr/>
          <p:nvPr/>
        </p:nvSpPr>
        <p:spPr>
          <a:xfrm>
            <a:off x="3482312" y="4265027"/>
            <a:ext cx="525780" cy="474345"/>
          </a:xfrm>
          <a:custGeom>
            <a:avLst/>
            <a:gdLst/>
            <a:ahLst/>
            <a:cxnLst/>
            <a:rect l="l" t="t" r="r" b="b"/>
            <a:pathLst>
              <a:path w="525779" h="474345">
                <a:moveTo>
                  <a:pt x="310641" y="249605"/>
                </a:moveTo>
                <a:lnTo>
                  <a:pt x="345693" y="285216"/>
                </a:lnTo>
                <a:lnTo>
                  <a:pt x="323088" y="308178"/>
                </a:lnTo>
                <a:lnTo>
                  <a:pt x="343026" y="328422"/>
                </a:lnTo>
                <a:lnTo>
                  <a:pt x="268224" y="404533"/>
                </a:lnTo>
                <a:lnTo>
                  <a:pt x="268224" y="473964"/>
                </a:lnTo>
                <a:lnTo>
                  <a:pt x="400812" y="473964"/>
                </a:lnTo>
                <a:lnTo>
                  <a:pt x="400812" y="430733"/>
                </a:lnTo>
                <a:lnTo>
                  <a:pt x="333120" y="430733"/>
                </a:lnTo>
                <a:lnTo>
                  <a:pt x="333120" y="412813"/>
                </a:lnTo>
                <a:lnTo>
                  <a:pt x="315467" y="412813"/>
                </a:lnTo>
                <a:lnTo>
                  <a:pt x="315467" y="393420"/>
                </a:lnTo>
                <a:lnTo>
                  <a:pt x="333120" y="393420"/>
                </a:lnTo>
                <a:lnTo>
                  <a:pt x="333120" y="375488"/>
                </a:lnTo>
                <a:lnTo>
                  <a:pt x="474433" y="375488"/>
                </a:lnTo>
                <a:lnTo>
                  <a:pt x="473709" y="374345"/>
                </a:lnTo>
                <a:lnTo>
                  <a:pt x="427053" y="316444"/>
                </a:lnTo>
                <a:lnTo>
                  <a:pt x="372871" y="265811"/>
                </a:lnTo>
                <a:lnTo>
                  <a:pt x="330072" y="249732"/>
                </a:lnTo>
                <a:lnTo>
                  <a:pt x="310641" y="249605"/>
                </a:lnTo>
                <a:close/>
              </a:path>
              <a:path w="525779" h="474345">
                <a:moveTo>
                  <a:pt x="502298" y="422389"/>
                </a:moveTo>
                <a:lnTo>
                  <a:pt x="400812" y="422389"/>
                </a:lnTo>
                <a:lnTo>
                  <a:pt x="404113" y="425881"/>
                </a:lnTo>
                <a:lnTo>
                  <a:pt x="405002" y="426542"/>
                </a:lnTo>
                <a:lnTo>
                  <a:pt x="405638" y="427507"/>
                </a:lnTo>
                <a:lnTo>
                  <a:pt x="407415" y="429958"/>
                </a:lnTo>
                <a:lnTo>
                  <a:pt x="408939" y="432523"/>
                </a:lnTo>
                <a:lnTo>
                  <a:pt x="410590" y="435051"/>
                </a:lnTo>
                <a:lnTo>
                  <a:pt x="416429" y="444621"/>
                </a:lnTo>
                <a:lnTo>
                  <a:pt x="421957" y="454298"/>
                </a:lnTo>
                <a:lnTo>
                  <a:pt x="427200" y="464079"/>
                </a:lnTo>
                <a:lnTo>
                  <a:pt x="432180" y="473964"/>
                </a:lnTo>
                <a:lnTo>
                  <a:pt x="525779" y="473964"/>
                </a:lnTo>
                <a:lnTo>
                  <a:pt x="514911" y="448218"/>
                </a:lnTo>
                <a:lnTo>
                  <a:pt x="502650" y="423021"/>
                </a:lnTo>
                <a:lnTo>
                  <a:pt x="502298" y="422389"/>
                </a:lnTo>
                <a:close/>
              </a:path>
              <a:path w="525779" h="474345">
                <a:moveTo>
                  <a:pt x="215264" y="247662"/>
                </a:moveTo>
                <a:lnTo>
                  <a:pt x="176260" y="253844"/>
                </a:lnTo>
                <a:lnTo>
                  <a:pt x="131825" y="283006"/>
                </a:lnTo>
                <a:lnTo>
                  <a:pt x="97267" y="316454"/>
                </a:lnTo>
                <a:lnTo>
                  <a:pt x="66952" y="352184"/>
                </a:lnTo>
                <a:lnTo>
                  <a:pt x="40733" y="390115"/>
                </a:lnTo>
                <a:lnTo>
                  <a:pt x="18464" y="430164"/>
                </a:lnTo>
                <a:lnTo>
                  <a:pt x="0" y="472249"/>
                </a:lnTo>
                <a:lnTo>
                  <a:pt x="94233" y="472249"/>
                </a:lnTo>
                <a:lnTo>
                  <a:pt x="102421" y="456919"/>
                </a:lnTo>
                <a:lnTo>
                  <a:pt x="110870" y="441732"/>
                </a:lnTo>
                <a:lnTo>
                  <a:pt x="119451" y="426542"/>
                </a:lnTo>
                <a:lnTo>
                  <a:pt x="127888" y="411454"/>
                </a:lnTo>
                <a:lnTo>
                  <a:pt x="258444" y="411454"/>
                </a:lnTo>
                <a:lnTo>
                  <a:pt x="258444" y="403682"/>
                </a:lnTo>
                <a:lnTo>
                  <a:pt x="257809" y="403072"/>
                </a:lnTo>
                <a:lnTo>
                  <a:pt x="182752" y="326707"/>
                </a:lnTo>
                <a:lnTo>
                  <a:pt x="202691" y="306451"/>
                </a:lnTo>
                <a:lnTo>
                  <a:pt x="180085" y="283489"/>
                </a:lnTo>
                <a:lnTo>
                  <a:pt x="215264" y="247662"/>
                </a:lnTo>
                <a:close/>
              </a:path>
              <a:path w="525779" h="474345">
                <a:moveTo>
                  <a:pt x="258444" y="411454"/>
                </a:moveTo>
                <a:lnTo>
                  <a:pt x="127888" y="411454"/>
                </a:lnTo>
                <a:lnTo>
                  <a:pt x="130175" y="412496"/>
                </a:lnTo>
                <a:lnTo>
                  <a:pt x="131444" y="413029"/>
                </a:lnTo>
                <a:lnTo>
                  <a:pt x="131571" y="414401"/>
                </a:lnTo>
                <a:lnTo>
                  <a:pt x="131825" y="415772"/>
                </a:lnTo>
                <a:lnTo>
                  <a:pt x="131825" y="472249"/>
                </a:lnTo>
                <a:lnTo>
                  <a:pt x="258444" y="472249"/>
                </a:lnTo>
                <a:lnTo>
                  <a:pt x="258444" y="411454"/>
                </a:lnTo>
                <a:close/>
              </a:path>
              <a:path w="525779" h="474345">
                <a:moveTo>
                  <a:pt x="474433" y="375488"/>
                </a:moveTo>
                <a:lnTo>
                  <a:pt x="352170" y="375488"/>
                </a:lnTo>
                <a:lnTo>
                  <a:pt x="352170" y="393420"/>
                </a:lnTo>
                <a:lnTo>
                  <a:pt x="369696" y="393420"/>
                </a:lnTo>
                <a:lnTo>
                  <a:pt x="369696" y="412813"/>
                </a:lnTo>
                <a:lnTo>
                  <a:pt x="352170" y="412813"/>
                </a:lnTo>
                <a:lnTo>
                  <a:pt x="352170" y="430733"/>
                </a:lnTo>
                <a:lnTo>
                  <a:pt x="400812" y="430733"/>
                </a:lnTo>
                <a:lnTo>
                  <a:pt x="400812" y="422389"/>
                </a:lnTo>
                <a:lnTo>
                  <a:pt x="502298" y="422389"/>
                </a:lnTo>
                <a:lnTo>
                  <a:pt x="488936" y="398390"/>
                </a:lnTo>
                <a:lnTo>
                  <a:pt x="474433" y="375488"/>
                </a:lnTo>
                <a:close/>
              </a:path>
              <a:path w="525779" h="474345">
                <a:moveTo>
                  <a:pt x="218947" y="257416"/>
                </a:moveTo>
                <a:lnTo>
                  <a:pt x="191642" y="285242"/>
                </a:lnTo>
                <a:lnTo>
                  <a:pt x="214121" y="308190"/>
                </a:lnTo>
                <a:lnTo>
                  <a:pt x="194309" y="328460"/>
                </a:lnTo>
                <a:lnTo>
                  <a:pt x="255777" y="391020"/>
                </a:lnTo>
                <a:lnTo>
                  <a:pt x="218947" y="257416"/>
                </a:lnTo>
                <a:close/>
              </a:path>
              <a:path w="525779" h="474345">
                <a:moveTo>
                  <a:pt x="305307" y="249605"/>
                </a:moveTo>
                <a:lnTo>
                  <a:pt x="268224" y="384467"/>
                </a:lnTo>
                <a:lnTo>
                  <a:pt x="330453" y="321094"/>
                </a:lnTo>
                <a:lnTo>
                  <a:pt x="310641" y="300837"/>
                </a:lnTo>
                <a:lnTo>
                  <a:pt x="333120" y="277888"/>
                </a:lnTo>
                <a:lnTo>
                  <a:pt x="305307" y="249605"/>
                </a:lnTo>
                <a:close/>
              </a:path>
              <a:path w="525779" h="474345">
                <a:moveTo>
                  <a:pt x="229869" y="265214"/>
                </a:moveTo>
                <a:lnTo>
                  <a:pt x="260603" y="376897"/>
                </a:lnTo>
                <a:lnTo>
                  <a:pt x="260603" y="313956"/>
                </a:lnTo>
                <a:lnTo>
                  <a:pt x="229869" y="265214"/>
                </a:lnTo>
                <a:close/>
              </a:path>
              <a:path w="525779" h="474345">
                <a:moveTo>
                  <a:pt x="296417" y="265214"/>
                </a:moveTo>
                <a:lnTo>
                  <a:pt x="268858" y="315214"/>
                </a:lnTo>
                <a:lnTo>
                  <a:pt x="268224" y="375297"/>
                </a:lnTo>
                <a:lnTo>
                  <a:pt x="296417" y="265214"/>
                </a:lnTo>
                <a:close/>
              </a:path>
              <a:path w="525779" h="474345">
                <a:moveTo>
                  <a:pt x="229869" y="241808"/>
                </a:moveTo>
                <a:lnTo>
                  <a:pt x="265175" y="297789"/>
                </a:lnTo>
                <a:lnTo>
                  <a:pt x="294698" y="244233"/>
                </a:lnTo>
                <a:lnTo>
                  <a:pt x="263778" y="244233"/>
                </a:lnTo>
                <a:lnTo>
                  <a:pt x="229869" y="241808"/>
                </a:lnTo>
                <a:close/>
              </a:path>
              <a:path w="525779" h="474345">
                <a:moveTo>
                  <a:pt x="294385" y="242023"/>
                </a:moveTo>
                <a:lnTo>
                  <a:pt x="263778" y="244233"/>
                </a:lnTo>
                <a:lnTo>
                  <a:pt x="294698" y="244233"/>
                </a:lnTo>
                <a:lnTo>
                  <a:pt x="295909" y="242036"/>
                </a:lnTo>
                <a:lnTo>
                  <a:pt x="294385" y="242023"/>
                </a:lnTo>
                <a:close/>
              </a:path>
              <a:path w="525779" h="474345">
                <a:moveTo>
                  <a:pt x="220344" y="86868"/>
                </a:moveTo>
                <a:lnTo>
                  <a:pt x="150621" y="86868"/>
                </a:lnTo>
                <a:lnTo>
                  <a:pt x="148489" y="95070"/>
                </a:lnTo>
                <a:lnTo>
                  <a:pt x="146954" y="103284"/>
                </a:lnTo>
                <a:lnTo>
                  <a:pt x="145996" y="111790"/>
                </a:lnTo>
                <a:lnTo>
                  <a:pt x="145668" y="120472"/>
                </a:lnTo>
                <a:lnTo>
                  <a:pt x="154590" y="166634"/>
                </a:lnTo>
                <a:lnTo>
                  <a:pt x="179133" y="204241"/>
                </a:lnTo>
                <a:lnTo>
                  <a:pt x="215677" y="229560"/>
                </a:lnTo>
                <a:lnTo>
                  <a:pt x="260603" y="238861"/>
                </a:lnTo>
                <a:lnTo>
                  <a:pt x="306218" y="229667"/>
                </a:lnTo>
                <a:lnTo>
                  <a:pt x="343296" y="204489"/>
                </a:lnTo>
                <a:lnTo>
                  <a:pt x="368206" y="167013"/>
                </a:lnTo>
                <a:lnTo>
                  <a:pt x="377316" y="120929"/>
                </a:lnTo>
                <a:lnTo>
                  <a:pt x="376950" y="112877"/>
                </a:lnTo>
                <a:lnTo>
                  <a:pt x="261492" y="112877"/>
                </a:lnTo>
                <a:lnTo>
                  <a:pt x="248509" y="110979"/>
                </a:lnTo>
                <a:lnTo>
                  <a:pt x="236966" y="105649"/>
                </a:lnTo>
                <a:lnTo>
                  <a:pt x="227399" y="97431"/>
                </a:lnTo>
                <a:lnTo>
                  <a:pt x="220344" y="86868"/>
                </a:lnTo>
                <a:close/>
              </a:path>
              <a:path w="525779" h="474345">
                <a:moveTo>
                  <a:pt x="303149" y="85801"/>
                </a:moveTo>
                <a:lnTo>
                  <a:pt x="296122" y="96772"/>
                </a:lnTo>
                <a:lnTo>
                  <a:pt x="286464" y="105330"/>
                </a:lnTo>
                <a:lnTo>
                  <a:pt x="274734" y="110893"/>
                </a:lnTo>
                <a:lnTo>
                  <a:pt x="261492" y="112877"/>
                </a:lnTo>
                <a:lnTo>
                  <a:pt x="376950" y="112877"/>
                </a:lnTo>
                <a:lnTo>
                  <a:pt x="376878" y="111790"/>
                </a:lnTo>
                <a:lnTo>
                  <a:pt x="375920" y="103493"/>
                </a:lnTo>
                <a:lnTo>
                  <a:pt x="374326" y="94970"/>
                </a:lnTo>
                <a:lnTo>
                  <a:pt x="372237" y="86868"/>
                </a:lnTo>
                <a:lnTo>
                  <a:pt x="303149" y="86868"/>
                </a:lnTo>
                <a:lnTo>
                  <a:pt x="303149" y="85801"/>
                </a:lnTo>
                <a:close/>
              </a:path>
              <a:path w="525779" h="474345">
                <a:moveTo>
                  <a:pt x="263397" y="46799"/>
                </a:moveTo>
                <a:lnTo>
                  <a:pt x="255601" y="48408"/>
                </a:lnTo>
                <a:lnTo>
                  <a:pt x="249221" y="52797"/>
                </a:lnTo>
                <a:lnTo>
                  <a:pt x="244913" y="59304"/>
                </a:lnTo>
                <a:lnTo>
                  <a:pt x="243331" y="67271"/>
                </a:lnTo>
                <a:lnTo>
                  <a:pt x="244913" y="75246"/>
                </a:lnTo>
                <a:lnTo>
                  <a:pt x="249221" y="81757"/>
                </a:lnTo>
                <a:lnTo>
                  <a:pt x="255601" y="86147"/>
                </a:lnTo>
                <a:lnTo>
                  <a:pt x="263397" y="87757"/>
                </a:lnTo>
                <a:lnTo>
                  <a:pt x="271268" y="86147"/>
                </a:lnTo>
                <a:lnTo>
                  <a:pt x="277685" y="81757"/>
                </a:lnTo>
                <a:lnTo>
                  <a:pt x="282007" y="75246"/>
                </a:lnTo>
                <a:lnTo>
                  <a:pt x="283590" y="67271"/>
                </a:lnTo>
                <a:lnTo>
                  <a:pt x="282007" y="59304"/>
                </a:lnTo>
                <a:lnTo>
                  <a:pt x="277685" y="52797"/>
                </a:lnTo>
                <a:lnTo>
                  <a:pt x="271268" y="48408"/>
                </a:lnTo>
                <a:lnTo>
                  <a:pt x="263397" y="46799"/>
                </a:lnTo>
                <a:close/>
              </a:path>
              <a:path w="525779" h="474345">
                <a:moveTo>
                  <a:pt x="261365" y="0"/>
                </a:moveTo>
                <a:lnTo>
                  <a:pt x="233806" y="3405"/>
                </a:lnTo>
                <a:lnTo>
                  <a:pt x="208629" y="13068"/>
                </a:lnTo>
                <a:lnTo>
                  <a:pt x="186642" y="28160"/>
                </a:lnTo>
                <a:lnTo>
                  <a:pt x="168655" y="47853"/>
                </a:lnTo>
                <a:lnTo>
                  <a:pt x="218185" y="47853"/>
                </a:lnTo>
                <a:lnTo>
                  <a:pt x="224653" y="34943"/>
                </a:lnTo>
                <a:lnTo>
                  <a:pt x="234584" y="24757"/>
                </a:lnTo>
                <a:lnTo>
                  <a:pt x="247207" y="18073"/>
                </a:lnTo>
                <a:lnTo>
                  <a:pt x="261746" y="15671"/>
                </a:lnTo>
                <a:lnTo>
                  <a:pt x="318380" y="15671"/>
                </a:lnTo>
                <a:lnTo>
                  <a:pt x="314531" y="13049"/>
                </a:lnTo>
                <a:lnTo>
                  <a:pt x="289169" y="3398"/>
                </a:lnTo>
                <a:lnTo>
                  <a:pt x="261365" y="0"/>
                </a:lnTo>
                <a:close/>
              </a:path>
              <a:path w="525779" h="474345">
                <a:moveTo>
                  <a:pt x="318380" y="15671"/>
                </a:moveTo>
                <a:lnTo>
                  <a:pt x="261746" y="15671"/>
                </a:lnTo>
                <a:lnTo>
                  <a:pt x="276359" y="18073"/>
                </a:lnTo>
                <a:lnTo>
                  <a:pt x="289020" y="24757"/>
                </a:lnTo>
                <a:lnTo>
                  <a:pt x="298965" y="34943"/>
                </a:lnTo>
                <a:lnTo>
                  <a:pt x="305434" y="47853"/>
                </a:lnTo>
                <a:lnTo>
                  <a:pt x="354838" y="47853"/>
                </a:lnTo>
                <a:lnTo>
                  <a:pt x="336678" y="28139"/>
                </a:lnTo>
                <a:lnTo>
                  <a:pt x="318380" y="15671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5" name="object 129">
            <a:extLst>
              <a:ext uri="{FF2B5EF4-FFF2-40B4-BE49-F238E27FC236}">
                <a16:creationId xmlns:a16="http://schemas.microsoft.com/office/drawing/2014/main" id="{1BF3F812-504B-4079-A4D4-8F2775F662E5}"/>
              </a:ext>
            </a:extLst>
          </p:cNvPr>
          <p:cNvSpPr txBox="1"/>
          <p:nvPr/>
        </p:nvSpPr>
        <p:spPr>
          <a:xfrm>
            <a:off x="2120271" y="2993306"/>
            <a:ext cx="816610" cy="3308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2000" b="1" dirty="0">
                <a:solidFill>
                  <a:srgbClr val="EC7C30"/>
                </a:solidFill>
                <a:latin typeface="Arial"/>
                <a:cs typeface="Arial"/>
              </a:rPr>
              <a:t>Onl</a:t>
            </a:r>
            <a:r>
              <a:rPr sz="2000" b="1" spc="-10" dirty="0">
                <a:solidFill>
                  <a:srgbClr val="EC7C30"/>
                </a:solidFill>
                <a:latin typeface="Arial"/>
                <a:cs typeface="Arial"/>
              </a:rPr>
              <a:t>i</a:t>
            </a:r>
            <a:r>
              <a:rPr sz="2000" b="1" dirty="0">
                <a:solidFill>
                  <a:srgbClr val="EC7C30"/>
                </a:solidFill>
                <a:latin typeface="Arial"/>
                <a:cs typeface="Arial"/>
              </a:rPr>
              <a:t>ne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136" name="object 130">
            <a:extLst>
              <a:ext uri="{FF2B5EF4-FFF2-40B4-BE49-F238E27FC236}">
                <a16:creationId xmlns:a16="http://schemas.microsoft.com/office/drawing/2014/main" id="{F49C72F8-C30D-4E44-A71B-F5946DC62A95}"/>
              </a:ext>
            </a:extLst>
          </p:cNvPr>
          <p:cNvSpPr txBox="1"/>
          <p:nvPr/>
        </p:nvSpPr>
        <p:spPr>
          <a:xfrm>
            <a:off x="2096449" y="3785106"/>
            <a:ext cx="831215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b="1" dirty="0">
                <a:solidFill>
                  <a:srgbClr val="5B9BD4"/>
                </a:solidFill>
                <a:latin typeface="Arial"/>
                <a:cs typeface="Arial"/>
              </a:rPr>
              <a:t>Of</a:t>
            </a:r>
            <a:r>
              <a:rPr sz="2000" b="1" spc="5" dirty="0">
                <a:solidFill>
                  <a:srgbClr val="5B9BD4"/>
                </a:solidFill>
                <a:latin typeface="Arial"/>
                <a:cs typeface="Arial"/>
              </a:rPr>
              <a:t>f</a:t>
            </a:r>
            <a:r>
              <a:rPr sz="2000" b="1" dirty="0">
                <a:solidFill>
                  <a:srgbClr val="5B9BD4"/>
                </a:solidFill>
                <a:latin typeface="Arial"/>
                <a:cs typeface="Arial"/>
              </a:rPr>
              <a:t>l</a:t>
            </a:r>
            <a:r>
              <a:rPr sz="2000" b="1" spc="-10" dirty="0">
                <a:solidFill>
                  <a:srgbClr val="5B9BD4"/>
                </a:solidFill>
                <a:latin typeface="Arial"/>
                <a:cs typeface="Arial"/>
              </a:rPr>
              <a:t>i</a:t>
            </a:r>
            <a:r>
              <a:rPr sz="2000" b="1" dirty="0">
                <a:solidFill>
                  <a:srgbClr val="5B9BD4"/>
                </a:solidFill>
                <a:latin typeface="Arial"/>
                <a:cs typeface="Arial"/>
              </a:rPr>
              <a:t>ne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137" name="object 131">
            <a:extLst>
              <a:ext uri="{FF2B5EF4-FFF2-40B4-BE49-F238E27FC236}">
                <a16:creationId xmlns:a16="http://schemas.microsoft.com/office/drawing/2014/main" id="{A170E2C0-3554-4D3A-B905-E8D9CF7C07B5}"/>
              </a:ext>
            </a:extLst>
          </p:cNvPr>
          <p:cNvSpPr/>
          <p:nvPr/>
        </p:nvSpPr>
        <p:spPr>
          <a:xfrm>
            <a:off x="7176901" y="3573016"/>
            <a:ext cx="4243070" cy="0"/>
          </a:xfrm>
          <a:custGeom>
            <a:avLst/>
            <a:gdLst/>
            <a:ahLst/>
            <a:cxnLst/>
            <a:rect l="l" t="t" r="r" b="b"/>
            <a:pathLst>
              <a:path w="4243070">
                <a:moveTo>
                  <a:pt x="0" y="0"/>
                </a:moveTo>
                <a:lnTo>
                  <a:pt x="4242562" y="0"/>
                </a:lnTo>
              </a:path>
            </a:pathLst>
          </a:custGeom>
          <a:ln w="28956">
            <a:solidFill>
              <a:schemeClr val="tx1"/>
            </a:solidFill>
            <a:prstDash val="lg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8" name="object 131">
            <a:extLst>
              <a:ext uri="{FF2B5EF4-FFF2-40B4-BE49-F238E27FC236}">
                <a16:creationId xmlns:a16="http://schemas.microsoft.com/office/drawing/2014/main" id="{21800F00-4F1C-4197-A8B4-A7A0F48FB4E3}"/>
              </a:ext>
            </a:extLst>
          </p:cNvPr>
          <p:cNvSpPr/>
          <p:nvPr/>
        </p:nvSpPr>
        <p:spPr>
          <a:xfrm>
            <a:off x="700802" y="3573016"/>
            <a:ext cx="4243070" cy="0"/>
          </a:xfrm>
          <a:custGeom>
            <a:avLst/>
            <a:gdLst/>
            <a:ahLst/>
            <a:cxnLst/>
            <a:rect l="l" t="t" r="r" b="b"/>
            <a:pathLst>
              <a:path w="4243070">
                <a:moveTo>
                  <a:pt x="0" y="0"/>
                </a:moveTo>
                <a:lnTo>
                  <a:pt x="4242562" y="0"/>
                </a:lnTo>
              </a:path>
            </a:pathLst>
          </a:custGeom>
          <a:ln w="28956">
            <a:solidFill>
              <a:schemeClr val="tx1"/>
            </a:solidFill>
            <a:prstDash val="lg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32AA461-197B-4712-B348-899AA03F4B44}"/>
              </a:ext>
            </a:extLst>
          </p:cNvPr>
          <p:cNvSpPr txBox="1"/>
          <p:nvPr/>
        </p:nvSpPr>
        <p:spPr>
          <a:xfrm>
            <a:off x="8911178" y="6285167"/>
            <a:ext cx="1068397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de-DE" sz="2400" dirty="0" err="1"/>
          </a:p>
        </p:txBody>
      </p:sp>
      <p:sp>
        <p:nvSpPr>
          <p:cNvPr id="139" name="object 129">
            <a:extLst>
              <a:ext uri="{FF2B5EF4-FFF2-40B4-BE49-F238E27FC236}">
                <a16:creationId xmlns:a16="http://schemas.microsoft.com/office/drawing/2014/main" id="{4ECB5573-8222-41EB-BE70-4AD5613F1D45}"/>
              </a:ext>
            </a:extLst>
          </p:cNvPr>
          <p:cNvSpPr txBox="1"/>
          <p:nvPr/>
        </p:nvSpPr>
        <p:spPr>
          <a:xfrm>
            <a:off x="731404" y="6342602"/>
            <a:ext cx="8958041" cy="18274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sz="11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**Note: E-Health profile is maintained as a summary of patients’ health records only after taking the consent of the patient</a:t>
            </a:r>
            <a:endParaRPr sz="1100" b="1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2029429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184A496-15C6-4F87-A8FC-D7963215F5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4525" y="440780"/>
            <a:ext cx="11211475" cy="1008000"/>
          </a:xfrm>
        </p:spPr>
        <p:txBody>
          <a:bodyPr/>
          <a:lstStyle/>
          <a:p>
            <a:r>
              <a:rPr lang="de-DE" dirty="0"/>
              <a:t>REVENUE SOURCES</a:t>
            </a:r>
            <a:endParaRPr lang="de-DE" sz="1100" dirty="0"/>
          </a:p>
        </p:txBody>
      </p:sp>
      <p:sp>
        <p:nvSpPr>
          <p:cNvPr id="139" name="object 8">
            <a:extLst>
              <a:ext uri="{FF2B5EF4-FFF2-40B4-BE49-F238E27FC236}">
                <a16:creationId xmlns:a16="http://schemas.microsoft.com/office/drawing/2014/main" id="{E0DBBCA4-184A-4E46-89B8-93862EC4848C}"/>
              </a:ext>
            </a:extLst>
          </p:cNvPr>
          <p:cNvSpPr/>
          <p:nvPr/>
        </p:nvSpPr>
        <p:spPr>
          <a:xfrm>
            <a:off x="437387" y="1376772"/>
            <a:ext cx="5943600" cy="0"/>
          </a:xfrm>
          <a:custGeom>
            <a:avLst/>
            <a:gdLst/>
            <a:ahLst/>
            <a:cxnLst/>
            <a:rect l="l" t="t" r="r" b="b"/>
            <a:pathLst>
              <a:path w="5943600">
                <a:moveTo>
                  <a:pt x="0" y="0"/>
                </a:moveTo>
                <a:lnTo>
                  <a:pt x="5943600" y="0"/>
                </a:lnTo>
              </a:path>
            </a:pathLst>
          </a:custGeom>
          <a:ln w="6096">
            <a:solidFill>
              <a:srgbClr val="EC7C3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0" name="object 10">
            <a:extLst>
              <a:ext uri="{FF2B5EF4-FFF2-40B4-BE49-F238E27FC236}">
                <a16:creationId xmlns:a16="http://schemas.microsoft.com/office/drawing/2014/main" id="{3699F906-487F-4C08-9A51-83542F0E06A4}"/>
              </a:ext>
            </a:extLst>
          </p:cNvPr>
          <p:cNvSpPr/>
          <p:nvPr/>
        </p:nvSpPr>
        <p:spPr>
          <a:xfrm>
            <a:off x="6656831" y="1376772"/>
            <a:ext cx="5144770" cy="0"/>
          </a:xfrm>
          <a:custGeom>
            <a:avLst/>
            <a:gdLst/>
            <a:ahLst/>
            <a:cxnLst/>
            <a:rect l="l" t="t" r="r" b="b"/>
            <a:pathLst>
              <a:path w="5144770">
                <a:moveTo>
                  <a:pt x="0" y="0"/>
                </a:moveTo>
                <a:lnTo>
                  <a:pt x="5144516" y="0"/>
                </a:lnTo>
              </a:path>
            </a:pathLst>
          </a:custGeom>
          <a:ln w="6096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1" name="object 129">
            <a:extLst>
              <a:ext uri="{FF2B5EF4-FFF2-40B4-BE49-F238E27FC236}">
                <a16:creationId xmlns:a16="http://schemas.microsoft.com/office/drawing/2014/main" id="{293A5205-D88B-4568-9CE7-32C21ED3B23B}"/>
              </a:ext>
            </a:extLst>
          </p:cNvPr>
          <p:cNvSpPr txBox="1"/>
          <p:nvPr/>
        </p:nvSpPr>
        <p:spPr>
          <a:xfrm>
            <a:off x="2191639" y="1045937"/>
            <a:ext cx="816610" cy="3308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2000" b="1" dirty="0">
                <a:solidFill>
                  <a:srgbClr val="EC7C30"/>
                </a:solidFill>
                <a:latin typeface="Arial"/>
                <a:cs typeface="Arial"/>
              </a:rPr>
              <a:t>Onl</a:t>
            </a:r>
            <a:r>
              <a:rPr sz="2000" b="1" spc="-10" dirty="0">
                <a:solidFill>
                  <a:srgbClr val="EC7C30"/>
                </a:solidFill>
                <a:latin typeface="Arial"/>
                <a:cs typeface="Arial"/>
              </a:rPr>
              <a:t>i</a:t>
            </a:r>
            <a:r>
              <a:rPr sz="2000" b="1" dirty="0">
                <a:solidFill>
                  <a:srgbClr val="EC7C30"/>
                </a:solidFill>
                <a:latin typeface="Arial"/>
                <a:cs typeface="Arial"/>
              </a:rPr>
              <a:t>ne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142" name="object 10">
            <a:extLst>
              <a:ext uri="{FF2B5EF4-FFF2-40B4-BE49-F238E27FC236}">
                <a16:creationId xmlns:a16="http://schemas.microsoft.com/office/drawing/2014/main" id="{8617C326-0D66-4A7C-A7CE-8B6DAA3ED218}"/>
              </a:ext>
            </a:extLst>
          </p:cNvPr>
          <p:cNvSpPr/>
          <p:nvPr/>
        </p:nvSpPr>
        <p:spPr>
          <a:xfrm rot="16200000">
            <a:off x="3746558" y="3786405"/>
            <a:ext cx="5648167" cy="56553"/>
          </a:xfrm>
          <a:custGeom>
            <a:avLst/>
            <a:gdLst/>
            <a:ahLst/>
            <a:cxnLst/>
            <a:rect l="l" t="t" r="r" b="b"/>
            <a:pathLst>
              <a:path w="5144770">
                <a:moveTo>
                  <a:pt x="0" y="0"/>
                </a:moveTo>
                <a:lnTo>
                  <a:pt x="5144516" y="0"/>
                </a:lnTo>
              </a:path>
            </a:pathLst>
          </a:custGeom>
          <a:ln w="6096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3" name="object 130">
            <a:extLst>
              <a:ext uri="{FF2B5EF4-FFF2-40B4-BE49-F238E27FC236}">
                <a16:creationId xmlns:a16="http://schemas.microsoft.com/office/drawing/2014/main" id="{C71DB6DE-597B-4811-9DDE-BF5E903875E8}"/>
              </a:ext>
            </a:extLst>
          </p:cNvPr>
          <p:cNvSpPr txBox="1"/>
          <p:nvPr/>
        </p:nvSpPr>
        <p:spPr>
          <a:xfrm>
            <a:off x="8813608" y="1045936"/>
            <a:ext cx="831215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b="1" dirty="0">
                <a:solidFill>
                  <a:srgbClr val="5B9BD4"/>
                </a:solidFill>
                <a:latin typeface="Arial"/>
                <a:cs typeface="Arial"/>
              </a:rPr>
              <a:t>Of</a:t>
            </a:r>
            <a:r>
              <a:rPr sz="2000" b="1" spc="5" dirty="0">
                <a:solidFill>
                  <a:srgbClr val="5B9BD4"/>
                </a:solidFill>
                <a:latin typeface="Arial"/>
                <a:cs typeface="Arial"/>
              </a:rPr>
              <a:t>f</a:t>
            </a:r>
            <a:r>
              <a:rPr sz="2000" b="1" dirty="0">
                <a:solidFill>
                  <a:srgbClr val="5B9BD4"/>
                </a:solidFill>
                <a:latin typeface="Arial"/>
                <a:cs typeface="Arial"/>
              </a:rPr>
              <a:t>l</a:t>
            </a:r>
            <a:r>
              <a:rPr sz="2000" b="1" spc="-10" dirty="0">
                <a:solidFill>
                  <a:srgbClr val="5B9BD4"/>
                </a:solidFill>
                <a:latin typeface="Arial"/>
                <a:cs typeface="Arial"/>
              </a:rPr>
              <a:t>i</a:t>
            </a:r>
            <a:r>
              <a:rPr sz="2000" b="1" dirty="0">
                <a:solidFill>
                  <a:srgbClr val="5B9BD4"/>
                </a:solidFill>
                <a:latin typeface="Arial"/>
                <a:cs typeface="Arial"/>
              </a:rPr>
              <a:t>ne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144" name="object 129">
            <a:extLst>
              <a:ext uri="{FF2B5EF4-FFF2-40B4-BE49-F238E27FC236}">
                <a16:creationId xmlns:a16="http://schemas.microsoft.com/office/drawing/2014/main" id="{5D14C6FC-2EDD-4818-9D0E-451879481ABE}"/>
              </a:ext>
            </a:extLst>
          </p:cNvPr>
          <p:cNvSpPr txBox="1"/>
          <p:nvPr/>
        </p:nvSpPr>
        <p:spPr>
          <a:xfrm>
            <a:off x="1381529" y="1623366"/>
            <a:ext cx="2878823" cy="29046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b="1" dirty="0">
                <a:latin typeface="Arial"/>
                <a:ea typeface="+mj-ea"/>
                <a:cs typeface="Arial"/>
              </a:rPr>
              <a:t>Online</a:t>
            </a:r>
            <a:r>
              <a:rPr lang="en-US" b="1" dirty="0">
                <a:latin typeface="Arial"/>
                <a:cs typeface="Arial"/>
              </a:rPr>
              <a:t> </a:t>
            </a:r>
            <a:r>
              <a:rPr lang="en-US" b="1" dirty="0">
                <a:latin typeface="Arial"/>
                <a:ea typeface="+mj-ea"/>
                <a:cs typeface="Arial"/>
              </a:rPr>
              <a:t>Consultation</a:t>
            </a:r>
            <a:endParaRPr b="1" dirty="0">
              <a:latin typeface="Arial"/>
              <a:ea typeface="+mj-ea"/>
              <a:cs typeface="Arial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56784E2E-3B0B-428F-AFB4-8E87942D74B1}"/>
              </a:ext>
            </a:extLst>
          </p:cNvPr>
          <p:cNvSpPr/>
          <p:nvPr/>
        </p:nvSpPr>
        <p:spPr>
          <a:xfrm>
            <a:off x="550043" y="2008631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marL="274955" indent="-182880">
              <a:lnSpc>
                <a:spcPct val="100000"/>
              </a:lnSpc>
              <a:spcBef>
                <a:spcPts val="960"/>
              </a:spcBef>
              <a:buClr>
                <a:srgbClr val="EC7C30"/>
              </a:buClr>
              <a:buFont typeface="Wingdings"/>
              <a:buChar char=""/>
              <a:tabLst>
                <a:tab pos="275590" algn="l"/>
              </a:tabLst>
            </a:pPr>
            <a:r>
              <a:rPr lang="en-US" spc="-5" dirty="0">
                <a:latin typeface="Arial"/>
                <a:cs typeface="Arial"/>
              </a:rPr>
              <a:t>Fee-for-service </a:t>
            </a:r>
            <a:r>
              <a:rPr lang="en-US" dirty="0">
                <a:latin typeface="Arial"/>
                <a:cs typeface="Arial"/>
              </a:rPr>
              <a:t>for online </a:t>
            </a:r>
            <a:r>
              <a:rPr lang="en-US" spc="-5" dirty="0">
                <a:latin typeface="Arial"/>
                <a:cs typeface="Arial"/>
              </a:rPr>
              <a:t>consultation </a:t>
            </a:r>
            <a:r>
              <a:rPr lang="en-US" dirty="0">
                <a:latin typeface="Arial"/>
                <a:cs typeface="Arial"/>
              </a:rPr>
              <a:t>and other medical</a:t>
            </a:r>
            <a:r>
              <a:rPr lang="en-US" spc="-195" dirty="0">
                <a:latin typeface="Arial"/>
                <a:cs typeface="Arial"/>
              </a:rPr>
              <a:t> </a:t>
            </a:r>
            <a:r>
              <a:rPr lang="en-US" spc="-5" dirty="0">
                <a:latin typeface="Arial"/>
                <a:cs typeface="Arial"/>
              </a:rPr>
              <a:t>services</a:t>
            </a:r>
            <a:endParaRPr lang="en-US" dirty="0">
              <a:latin typeface="Arial"/>
              <a:cs typeface="Arial"/>
            </a:endParaRPr>
          </a:p>
        </p:txBody>
      </p:sp>
      <p:sp>
        <p:nvSpPr>
          <p:cNvPr id="146" name="object 129">
            <a:extLst>
              <a:ext uri="{FF2B5EF4-FFF2-40B4-BE49-F238E27FC236}">
                <a16:creationId xmlns:a16="http://schemas.microsoft.com/office/drawing/2014/main" id="{4A918C74-A5D2-402B-9D46-3883F5245ABA}"/>
              </a:ext>
            </a:extLst>
          </p:cNvPr>
          <p:cNvSpPr txBox="1"/>
          <p:nvPr/>
        </p:nvSpPr>
        <p:spPr>
          <a:xfrm>
            <a:off x="1364449" y="3272838"/>
            <a:ext cx="2878823" cy="29046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b="1" dirty="0">
                <a:latin typeface="Arial"/>
                <a:ea typeface="+mj-ea"/>
                <a:cs typeface="Arial"/>
              </a:rPr>
              <a:t>Health Management Plans</a:t>
            </a:r>
            <a:endParaRPr b="1" dirty="0">
              <a:latin typeface="Arial"/>
              <a:ea typeface="+mj-ea"/>
              <a:cs typeface="Arial"/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23307FF3-3C77-435F-BD28-FF754F24EA07}"/>
              </a:ext>
            </a:extLst>
          </p:cNvPr>
          <p:cNvSpPr/>
          <p:nvPr/>
        </p:nvSpPr>
        <p:spPr>
          <a:xfrm>
            <a:off x="463263" y="3804326"/>
            <a:ext cx="619356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74955" marR="628650" indent="-182880">
              <a:lnSpc>
                <a:spcPct val="100000"/>
              </a:lnSpc>
              <a:buClr>
                <a:srgbClr val="EC7C30"/>
              </a:buClr>
              <a:buFont typeface="Wingdings"/>
              <a:buChar char=""/>
              <a:tabLst>
                <a:tab pos="274955" algn="l"/>
              </a:tabLst>
            </a:pPr>
            <a:r>
              <a:rPr lang="en-US" dirty="0">
                <a:latin typeface="Arial"/>
                <a:cs typeface="Arial"/>
              </a:rPr>
              <a:t>Sale of </a:t>
            </a:r>
            <a:r>
              <a:rPr lang="en-US" spc="-5" dirty="0">
                <a:latin typeface="Arial"/>
                <a:cs typeface="Arial"/>
              </a:rPr>
              <a:t>customized </a:t>
            </a:r>
            <a:r>
              <a:rPr lang="en-US" dirty="0">
                <a:latin typeface="Arial"/>
                <a:cs typeface="Arial"/>
              </a:rPr>
              <a:t>consumer healthcare </a:t>
            </a:r>
            <a:r>
              <a:rPr lang="en-US" spc="-5" dirty="0">
                <a:latin typeface="Arial"/>
                <a:cs typeface="Arial"/>
              </a:rPr>
              <a:t>service </a:t>
            </a:r>
            <a:r>
              <a:rPr lang="en-US" dirty="0">
                <a:latin typeface="Arial"/>
                <a:cs typeface="Arial"/>
              </a:rPr>
              <a:t>packages</a:t>
            </a: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6E8C4927-2675-4D3F-B051-37C90A44A1F9}"/>
              </a:ext>
            </a:extLst>
          </p:cNvPr>
          <p:cNvSpPr/>
          <p:nvPr/>
        </p:nvSpPr>
        <p:spPr>
          <a:xfrm>
            <a:off x="463263" y="4470625"/>
            <a:ext cx="24846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74320" indent="-182880">
              <a:lnSpc>
                <a:spcPct val="100000"/>
              </a:lnSpc>
              <a:spcBef>
                <a:spcPts val="994"/>
              </a:spcBef>
              <a:buClr>
                <a:srgbClr val="EC7C30"/>
              </a:buClr>
              <a:buFont typeface="Wingdings"/>
              <a:buChar char=""/>
              <a:tabLst>
                <a:tab pos="274320" algn="l"/>
              </a:tabLst>
            </a:pPr>
            <a:r>
              <a:rPr lang="de-DE" spc="-5" dirty="0">
                <a:latin typeface="Arial"/>
                <a:cs typeface="Arial"/>
              </a:rPr>
              <a:t>Advertising</a:t>
            </a:r>
            <a:r>
              <a:rPr lang="de-DE" spc="-35" dirty="0">
                <a:latin typeface="Arial"/>
                <a:cs typeface="Arial"/>
              </a:rPr>
              <a:t> </a:t>
            </a:r>
            <a:r>
              <a:rPr lang="de-DE" spc="-5" dirty="0" err="1">
                <a:latin typeface="Arial"/>
                <a:cs typeface="Arial"/>
              </a:rPr>
              <a:t>revenue</a:t>
            </a:r>
            <a:endParaRPr lang="de-DE" dirty="0">
              <a:latin typeface="Arial"/>
              <a:cs typeface="Arial"/>
            </a:endParaRPr>
          </a:p>
        </p:txBody>
      </p:sp>
      <p:sp>
        <p:nvSpPr>
          <p:cNvPr id="149" name="object 129">
            <a:extLst>
              <a:ext uri="{FF2B5EF4-FFF2-40B4-BE49-F238E27FC236}">
                <a16:creationId xmlns:a16="http://schemas.microsoft.com/office/drawing/2014/main" id="{A5768BAA-CE3F-4155-A539-7669E8D67F8E}"/>
              </a:ext>
            </a:extLst>
          </p:cNvPr>
          <p:cNvSpPr txBox="1"/>
          <p:nvPr/>
        </p:nvSpPr>
        <p:spPr>
          <a:xfrm>
            <a:off x="1437941" y="5399479"/>
            <a:ext cx="2878823" cy="29046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b="1" dirty="0">
                <a:latin typeface="Arial"/>
                <a:ea typeface="+mj-ea"/>
                <a:cs typeface="Arial"/>
              </a:rPr>
              <a:t>Express Drug Delivery</a:t>
            </a:r>
            <a:endParaRPr b="1" dirty="0">
              <a:latin typeface="Arial"/>
              <a:ea typeface="+mj-ea"/>
              <a:cs typeface="Arial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84474060-8F3F-41A1-B266-A99F2F952395}"/>
              </a:ext>
            </a:extLst>
          </p:cNvPr>
          <p:cNvSpPr/>
          <p:nvPr/>
        </p:nvSpPr>
        <p:spPr>
          <a:xfrm>
            <a:off x="599262" y="5879068"/>
            <a:ext cx="21191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74320" indent="-182880">
              <a:lnSpc>
                <a:spcPct val="100000"/>
              </a:lnSpc>
              <a:spcBef>
                <a:spcPts val="994"/>
              </a:spcBef>
              <a:buClr>
                <a:srgbClr val="EC7C30"/>
              </a:buClr>
              <a:buFont typeface="Wingdings"/>
              <a:buChar char=""/>
              <a:tabLst>
                <a:tab pos="274320" algn="l"/>
              </a:tabLst>
            </a:pPr>
            <a:r>
              <a:rPr lang="de-DE" spc="-5" dirty="0">
                <a:latin typeface="Arial"/>
                <a:cs typeface="Arial"/>
              </a:rPr>
              <a:t>Service </a:t>
            </a:r>
            <a:r>
              <a:rPr lang="de-DE" spc="-5" dirty="0" err="1">
                <a:latin typeface="Arial"/>
                <a:cs typeface="Arial"/>
              </a:rPr>
              <a:t>revenue</a:t>
            </a:r>
            <a:endParaRPr lang="de-DE" dirty="0">
              <a:latin typeface="Arial"/>
              <a:cs typeface="Arial"/>
            </a:endParaRPr>
          </a:p>
        </p:txBody>
      </p:sp>
      <p:sp>
        <p:nvSpPr>
          <p:cNvPr id="153" name="object 38">
            <a:extLst>
              <a:ext uri="{FF2B5EF4-FFF2-40B4-BE49-F238E27FC236}">
                <a16:creationId xmlns:a16="http://schemas.microsoft.com/office/drawing/2014/main" id="{37ED04CE-4B8C-4537-AC4C-AA13C68AAFFB}"/>
              </a:ext>
            </a:extLst>
          </p:cNvPr>
          <p:cNvSpPr/>
          <p:nvPr/>
        </p:nvSpPr>
        <p:spPr>
          <a:xfrm>
            <a:off x="767408" y="1742016"/>
            <a:ext cx="443865" cy="210820"/>
          </a:xfrm>
          <a:custGeom>
            <a:avLst/>
            <a:gdLst/>
            <a:ahLst/>
            <a:cxnLst/>
            <a:rect l="l" t="t" r="r" b="b"/>
            <a:pathLst>
              <a:path w="443864" h="210820">
                <a:moveTo>
                  <a:pt x="182626" y="0"/>
                </a:moveTo>
                <a:lnTo>
                  <a:pt x="171450" y="0"/>
                </a:lnTo>
                <a:lnTo>
                  <a:pt x="163956" y="3810"/>
                </a:lnTo>
                <a:lnTo>
                  <a:pt x="141605" y="26289"/>
                </a:lnTo>
                <a:lnTo>
                  <a:pt x="37211" y="67564"/>
                </a:lnTo>
                <a:lnTo>
                  <a:pt x="17770" y="93047"/>
                </a:lnTo>
                <a:lnTo>
                  <a:pt x="7413" y="138938"/>
                </a:lnTo>
                <a:lnTo>
                  <a:pt x="0" y="210312"/>
                </a:lnTo>
                <a:lnTo>
                  <a:pt x="443483" y="210312"/>
                </a:lnTo>
                <a:lnTo>
                  <a:pt x="436070" y="138938"/>
                </a:lnTo>
                <a:lnTo>
                  <a:pt x="425713" y="93047"/>
                </a:lnTo>
                <a:lnTo>
                  <a:pt x="406273" y="67564"/>
                </a:lnTo>
                <a:lnTo>
                  <a:pt x="330466" y="37592"/>
                </a:lnTo>
                <a:lnTo>
                  <a:pt x="219837" y="37592"/>
                </a:lnTo>
                <a:lnTo>
                  <a:pt x="186308" y="3810"/>
                </a:lnTo>
                <a:lnTo>
                  <a:pt x="182626" y="0"/>
                </a:lnTo>
                <a:close/>
              </a:path>
              <a:path w="443864" h="210820">
                <a:moveTo>
                  <a:pt x="272033" y="0"/>
                </a:moveTo>
                <a:lnTo>
                  <a:pt x="260857" y="0"/>
                </a:lnTo>
                <a:lnTo>
                  <a:pt x="257175" y="3810"/>
                </a:lnTo>
                <a:lnTo>
                  <a:pt x="219837" y="37592"/>
                </a:lnTo>
                <a:lnTo>
                  <a:pt x="330466" y="37592"/>
                </a:lnTo>
                <a:lnTo>
                  <a:pt x="301879" y="26289"/>
                </a:lnTo>
                <a:lnTo>
                  <a:pt x="279527" y="3810"/>
                </a:lnTo>
                <a:lnTo>
                  <a:pt x="272033" y="0"/>
                </a:lnTo>
                <a:close/>
              </a:path>
            </a:pathLst>
          </a:custGeom>
          <a:solidFill>
            <a:srgbClr val="5B9BD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4" name="object 39">
            <a:extLst>
              <a:ext uri="{FF2B5EF4-FFF2-40B4-BE49-F238E27FC236}">
                <a16:creationId xmlns:a16="http://schemas.microsoft.com/office/drawing/2014/main" id="{86E932DC-BB93-42A9-95AD-187E78B51DFB}"/>
              </a:ext>
            </a:extLst>
          </p:cNvPr>
          <p:cNvSpPr/>
          <p:nvPr/>
        </p:nvSpPr>
        <p:spPr>
          <a:xfrm>
            <a:off x="845133" y="1435693"/>
            <a:ext cx="287020" cy="302260"/>
          </a:xfrm>
          <a:custGeom>
            <a:avLst/>
            <a:gdLst/>
            <a:ahLst/>
            <a:cxnLst/>
            <a:rect l="l" t="t" r="r" b="b"/>
            <a:pathLst>
              <a:path w="287020" h="302260">
                <a:moveTo>
                  <a:pt x="241807" y="199897"/>
                </a:moveTo>
                <a:lnTo>
                  <a:pt x="44703" y="199897"/>
                </a:lnTo>
                <a:lnTo>
                  <a:pt x="58197" y="242869"/>
                </a:lnTo>
                <a:lnTo>
                  <a:pt x="80454" y="274875"/>
                </a:lnTo>
                <a:lnTo>
                  <a:pt x="108997" y="294856"/>
                </a:lnTo>
                <a:lnTo>
                  <a:pt x="141350" y="301751"/>
                </a:lnTo>
                <a:lnTo>
                  <a:pt x="173626" y="297570"/>
                </a:lnTo>
                <a:lnTo>
                  <a:pt x="198580" y="285257"/>
                </a:lnTo>
                <a:lnTo>
                  <a:pt x="214774" y="267842"/>
                </a:lnTo>
                <a:lnTo>
                  <a:pt x="141350" y="267842"/>
                </a:lnTo>
                <a:lnTo>
                  <a:pt x="133984" y="260222"/>
                </a:lnTo>
                <a:lnTo>
                  <a:pt x="133984" y="245109"/>
                </a:lnTo>
                <a:lnTo>
                  <a:pt x="141350" y="241426"/>
                </a:lnTo>
                <a:lnTo>
                  <a:pt x="187534" y="241426"/>
                </a:lnTo>
                <a:lnTo>
                  <a:pt x="199999" y="238617"/>
                </a:lnTo>
                <a:lnTo>
                  <a:pt x="220456" y="226790"/>
                </a:lnTo>
                <a:lnTo>
                  <a:pt x="233935" y="212820"/>
                </a:lnTo>
                <a:lnTo>
                  <a:pt x="241807" y="199897"/>
                </a:lnTo>
                <a:close/>
              </a:path>
              <a:path w="287020" h="302260">
                <a:moveTo>
                  <a:pt x="230758" y="237616"/>
                </a:moveTo>
                <a:lnTo>
                  <a:pt x="220398" y="245917"/>
                </a:lnTo>
                <a:lnTo>
                  <a:pt x="206549" y="253158"/>
                </a:lnTo>
                <a:lnTo>
                  <a:pt x="189914" y="258280"/>
                </a:lnTo>
                <a:lnTo>
                  <a:pt x="171195" y="260222"/>
                </a:lnTo>
                <a:lnTo>
                  <a:pt x="171195" y="264032"/>
                </a:lnTo>
                <a:lnTo>
                  <a:pt x="163702" y="267842"/>
                </a:lnTo>
                <a:lnTo>
                  <a:pt x="214774" y="267842"/>
                </a:lnTo>
                <a:lnTo>
                  <a:pt x="217271" y="265158"/>
                </a:lnTo>
                <a:lnTo>
                  <a:pt x="230758" y="237616"/>
                </a:lnTo>
                <a:close/>
              </a:path>
              <a:path w="287020" h="302260">
                <a:moveTo>
                  <a:pt x="187534" y="241426"/>
                </a:moveTo>
                <a:lnTo>
                  <a:pt x="167386" y="241426"/>
                </a:lnTo>
                <a:lnTo>
                  <a:pt x="171195" y="245109"/>
                </a:lnTo>
                <a:lnTo>
                  <a:pt x="187534" y="241426"/>
                </a:lnTo>
                <a:close/>
              </a:path>
              <a:path w="287020" h="302260">
                <a:moveTo>
                  <a:pt x="141350" y="0"/>
                </a:moveTo>
                <a:lnTo>
                  <a:pt x="93811" y="8602"/>
                </a:lnTo>
                <a:lnTo>
                  <a:pt x="53927" y="32051"/>
                </a:lnTo>
                <a:lnTo>
                  <a:pt x="25211" y="66811"/>
                </a:lnTo>
                <a:lnTo>
                  <a:pt x="11175" y="109346"/>
                </a:lnTo>
                <a:lnTo>
                  <a:pt x="3682" y="113156"/>
                </a:lnTo>
                <a:lnTo>
                  <a:pt x="0" y="120650"/>
                </a:lnTo>
                <a:lnTo>
                  <a:pt x="0" y="177291"/>
                </a:lnTo>
                <a:lnTo>
                  <a:pt x="1920" y="185592"/>
                </a:lnTo>
                <a:lnTo>
                  <a:pt x="6985" y="192833"/>
                </a:lnTo>
                <a:lnTo>
                  <a:pt x="14144" y="197955"/>
                </a:lnTo>
                <a:lnTo>
                  <a:pt x="22351" y="199897"/>
                </a:lnTo>
                <a:lnTo>
                  <a:pt x="264159" y="199897"/>
                </a:lnTo>
                <a:lnTo>
                  <a:pt x="272367" y="197955"/>
                </a:lnTo>
                <a:lnTo>
                  <a:pt x="279526" y="192833"/>
                </a:lnTo>
                <a:lnTo>
                  <a:pt x="284591" y="185592"/>
                </a:lnTo>
                <a:lnTo>
                  <a:pt x="286512" y="177291"/>
                </a:lnTo>
                <a:lnTo>
                  <a:pt x="286512" y="120650"/>
                </a:lnTo>
                <a:lnTo>
                  <a:pt x="279018" y="113156"/>
                </a:lnTo>
                <a:lnTo>
                  <a:pt x="44703" y="113156"/>
                </a:lnTo>
                <a:lnTo>
                  <a:pt x="37211" y="105663"/>
                </a:lnTo>
                <a:lnTo>
                  <a:pt x="49321" y="74154"/>
                </a:lnTo>
                <a:lnTo>
                  <a:pt x="72564" y="49037"/>
                </a:lnTo>
                <a:lnTo>
                  <a:pt x="104165" y="32422"/>
                </a:lnTo>
                <a:lnTo>
                  <a:pt x="141350" y="26415"/>
                </a:lnTo>
                <a:lnTo>
                  <a:pt x="222251" y="26415"/>
                </a:lnTo>
                <a:lnTo>
                  <a:pt x="191093" y="8602"/>
                </a:lnTo>
                <a:lnTo>
                  <a:pt x="141350" y="0"/>
                </a:lnTo>
                <a:close/>
              </a:path>
              <a:path w="287020" h="302260">
                <a:moveTo>
                  <a:pt x="141350" y="45212"/>
                </a:moveTo>
                <a:lnTo>
                  <a:pt x="107390" y="49988"/>
                </a:lnTo>
                <a:lnTo>
                  <a:pt x="79025" y="63611"/>
                </a:lnTo>
                <a:lnTo>
                  <a:pt x="57661" y="85020"/>
                </a:lnTo>
                <a:lnTo>
                  <a:pt x="44703" y="113156"/>
                </a:lnTo>
                <a:lnTo>
                  <a:pt x="241807" y="113156"/>
                </a:lnTo>
                <a:lnTo>
                  <a:pt x="228790" y="85020"/>
                </a:lnTo>
                <a:lnTo>
                  <a:pt x="207010" y="63611"/>
                </a:lnTo>
                <a:lnTo>
                  <a:pt x="177514" y="49988"/>
                </a:lnTo>
                <a:lnTo>
                  <a:pt x="141350" y="45212"/>
                </a:lnTo>
                <a:close/>
              </a:path>
              <a:path w="287020" h="302260">
                <a:moveTo>
                  <a:pt x="222251" y="26415"/>
                </a:moveTo>
                <a:lnTo>
                  <a:pt x="141350" y="26415"/>
                </a:lnTo>
                <a:lnTo>
                  <a:pt x="180738" y="32422"/>
                </a:lnTo>
                <a:lnTo>
                  <a:pt x="213471" y="49037"/>
                </a:lnTo>
                <a:lnTo>
                  <a:pt x="237130" y="74154"/>
                </a:lnTo>
                <a:lnTo>
                  <a:pt x="249300" y="105663"/>
                </a:lnTo>
                <a:lnTo>
                  <a:pt x="241807" y="113156"/>
                </a:lnTo>
                <a:lnTo>
                  <a:pt x="279018" y="113156"/>
                </a:lnTo>
                <a:lnTo>
                  <a:pt x="275336" y="109346"/>
                </a:lnTo>
                <a:lnTo>
                  <a:pt x="261240" y="66811"/>
                </a:lnTo>
                <a:lnTo>
                  <a:pt x="232108" y="32051"/>
                </a:lnTo>
                <a:lnTo>
                  <a:pt x="222251" y="26415"/>
                </a:lnTo>
                <a:close/>
              </a:path>
            </a:pathLst>
          </a:custGeom>
          <a:solidFill>
            <a:srgbClr val="5B9BD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5" name="object 43">
            <a:extLst>
              <a:ext uri="{FF2B5EF4-FFF2-40B4-BE49-F238E27FC236}">
                <a16:creationId xmlns:a16="http://schemas.microsoft.com/office/drawing/2014/main" id="{DEEE0D92-4079-422A-8B35-5C01049E24D1}"/>
              </a:ext>
            </a:extLst>
          </p:cNvPr>
          <p:cNvSpPr/>
          <p:nvPr/>
        </p:nvSpPr>
        <p:spPr>
          <a:xfrm>
            <a:off x="892782" y="3128008"/>
            <a:ext cx="82296" cy="975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srgbClr val="92D050"/>
              </a:solidFill>
            </a:endParaRPr>
          </a:p>
        </p:txBody>
      </p:sp>
      <p:sp>
        <p:nvSpPr>
          <p:cNvPr id="156" name="object 44">
            <a:extLst>
              <a:ext uri="{FF2B5EF4-FFF2-40B4-BE49-F238E27FC236}">
                <a16:creationId xmlns:a16="http://schemas.microsoft.com/office/drawing/2014/main" id="{5C5B3647-A389-4008-AA62-D2ADBCB2A9AE}"/>
              </a:ext>
            </a:extLst>
          </p:cNvPr>
          <p:cNvSpPr/>
          <p:nvPr/>
        </p:nvSpPr>
        <p:spPr>
          <a:xfrm>
            <a:off x="1049754" y="3184395"/>
            <a:ext cx="70103" cy="8229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srgbClr val="92D050"/>
              </a:solidFill>
            </a:endParaRPr>
          </a:p>
        </p:txBody>
      </p:sp>
      <p:sp>
        <p:nvSpPr>
          <p:cNvPr id="157" name="object 45">
            <a:extLst>
              <a:ext uri="{FF2B5EF4-FFF2-40B4-BE49-F238E27FC236}">
                <a16:creationId xmlns:a16="http://schemas.microsoft.com/office/drawing/2014/main" id="{83002CB2-14C2-4E8D-86B7-60BD81BB26F7}"/>
              </a:ext>
            </a:extLst>
          </p:cNvPr>
          <p:cNvSpPr/>
          <p:nvPr/>
        </p:nvSpPr>
        <p:spPr>
          <a:xfrm>
            <a:off x="731404" y="3217289"/>
            <a:ext cx="534035" cy="351155"/>
          </a:xfrm>
          <a:custGeom>
            <a:avLst/>
            <a:gdLst/>
            <a:ahLst/>
            <a:cxnLst/>
            <a:rect l="l" t="t" r="r" b="b"/>
            <a:pathLst>
              <a:path w="534034" h="351155">
                <a:moveTo>
                  <a:pt x="157567" y="0"/>
                </a:moveTo>
                <a:lnTo>
                  <a:pt x="105509" y="1595"/>
                </a:lnTo>
                <a:lnTo>
                  <a:pt x="60571" y="15430"/>
                </a:lnTo>
                <a:lnTo>
                  <a:pt x="26158" y="39933"/>
                </a:lnTo>
                <a:lnTo>
                  <a:pt x="5675" y="73532"/>
                </a:lnTo>
                <a:lnTo>
                  <a:pt x="0" y="111059"/>
                </a:lnTo>
                <a:lnTo>
                  <a:pt x="9802" y="150479"/>
                </a:lnTo>
                <a:lnTo>
                  <a:pt x="38179" y="194923"/>
                </a:lnTo>
                <a:lnTo>
                  <a:pt x="88225" y="247522"/>
                </a:lnTo>
                <a:lnTo>
                  <a:pt x="133123" y="279585"/>
                </a:lnTo>
                <a:lnTo>
                  <a:pt x="185450" y="305604"/>
                </a:lnTo>
                <a:lnTo>
                  <a:pt x="240530" y="325675"/>
                </a:lnTo>
                <a:lnTo>
                  <a:pt x="293683" y="339894"/>
                </a:lnTo>
                <a:lnTo>
                  <a:pt x="340232" y="348355"/>
                </a:lnTo>
                <a:lnTo>
                  <a:pt x="375499" y="351154"/>
                </a:lnTo>
                <a:lnTo>
                  <a:pt x="414489" y="349732"/>
                </a:lnTo>
                <a:lnTo>
                  <a:pt x="458392" y="343006"/>
                </a:lnTo>
                <a:lnTo>
                  <a:pt x="498650" y="327289"/>
                </a:lnTo>
                <a:lnTo>
                  <a:pt x="501546" y="324357"/>
                </a:lnTo>
                <a:lnTo>
                  <a:pt x="398613" y="324357"/>
                </a:lnTo>
                <a:lnTo>
                  <a:pt x="398804" y="321055"/>
                </a:lnTo>
                <a:lnTo>
                  <a:pt x="349083" y="321055"/>
                </a:lnTo>
                <a:lnTo>
                  <a:pt x="349083" y="317753"/>
                </a:lnTo>
                <a:lnTo>
                  <a:pt x="329271" y="317753"/>
                </a:lnTo>
                <a:lnTo>
                  <a:pt x="319365" y="314325"/>
                </a:lnTo>
                <a:lnTo>
                  <a:pt x="309459" y="314325"/>
                </a:lnTo>
                <a:lnTo>
                  <a:pt x="295528" y="309350"/>
                </a:lnTo>
                <a:lnTo>
                  <a:pt x="263953" y="299305"/>
                </a:lnTo>
                <a:lnTo>
                  <a:pt x="250023" y="294258"/>
                </a:lnTo>
                <a:lnTo>
                  <a:pt x="243419" y="294258"/>
                </a:lnTo>
                <a:lnTo>
                  <a:pt x="236815" y="290956"/>
                </a:lnTo>
                <a:lnTo>
                  <a:pt x="233513" y="287654"/>
                </a:lnTo>
                <a:lnTo>
                  <a:pt x="230211" y="287654"/>
                </a:lnTo>
                <a:lnTo>
                  <a:pt x="231128" y="277621"/>
                </a:lnTo>
                <a:lnTo>
                  <a:pt x="210399" y="277621"/>
                </a:lnTo>
                <a:lnTo>
                  <a:pt x="197191" y="270890"/>
                </a:lnTo>
                <a:lnTo>
                  <a:pt x="197191" y="240791"/>
                </a:lnTo>
                <a:lnTo>
                  <a:pt x="141057" y="240791"/>
                </a:lnTo>
                <a:lnTo>
                  <a:pt x="127849" y="230758"/>
                </a:lnTo>
                <a:lnTo>
                  <a:pt x="128440" y="207390"/>
                </a:lnTo>
                <a:lnTo>
                  <a:pt x="101433" y="207390"/>
                </a:lnTo>
                <a:lnTo>
                  <a:pt x="61706" y="168983"/>
                </a:lnTo>
                <a:lnTo>
                  <a:pt x="38695" y="133397"/>
                </a:lnTo>
                <a:lnTo>
                  <a:pt x="28067" y="107217"/>
                </a:lnTo>
                <a:lnTo>
                  <a:pt x="25487" y="97027"/>
                </a:lnTo>
                <a:lnTo>
                  <a:pt x="43338" y="37216"/>
                </a:lnTo>
                <a:lnTo>
                  <a:pt x="89050" y="10017"/>
                </a:lnTo>
                <a:lnTo>
                  <a:pt x="136001" y="2891"/>
                </a:lnTo>
                <a:lnTo>
                  <a:pt x="157567" y="2891"/>
                </a:lnTo>
                <a:lnTo>
                  <a:pt x="157567" y="0"/>
                </a:lnTo>
                <a:close/>
              </a:path>
              <a:path w="534034" h="351155">
                <a:moveTo>
                  <a:pt x="441539" y="103631"/>
                </a:moveTo>
                <a:lnTo>
                  <a:pt x="434935" y="107060"/>
                </a:lnTo>
                <a:lnTo>
                  <a:pt x="472753" y="142210"/>
                </a:lnTo>
                <a:lnTo>
                  <a:pt x="502213" y="190230"/>
                </a:lnTo>
                <a:lnTo>
                  <a:pt x="516195" y="240131"/>
                </a:lnTo>
                <a:lnTo>
                  <a:pt x="507579" y="280924"/>
                </a:lnTo>
                <a:lnTo>
                  <a:pt x="478016" y="307480"/>
                </a:lnTo>
                <a:lnTo>
                  <a:pt x="441952" y="320214"/>
                </a:lnTo>
                <a:lnTo>
                  <a:pt x="411460" y="324161"/>
                </a:lnTo>
                <a:lnTo>
                  <a:pt x="398613" y="324357"/>
                </a:lnTo>
                <a:lnTo>
                  <a:pt x="501546" y="324357"/>
                </a:lnTo>
                <a:lnTo>
                  <a:pt x="526704" y="298891"/>
                </a:lnTo>
                <a:lnTo>
                  <a:pt x="533995" y="254126"/>
                </a:lnTo>
                <a:lnTo>
                  <a:pt x="515369" y="191125"/>
                </a:lnTo>
                <a:lnTo>
                  <a:pt x="484052" y="143779"/>
                </a:lnTo>
                <a:lnTo>
                  <a:pt x="454592" y="113984"/>
                </a:lnTo>
                <a:lnTo>
                  <a:pt x="441539" y="103631"/>
                </a:lnTo>
                <a:close/>
              </a:path>
              <a:path w="534034" h="351155">
                <a:moveTo>
                  <a:pt x="401291" y="254126"/>
                </a:moveTo>
                <a:lnTo>
                  <a:pt x="349083" y="254126"/>
                </a:lnTo>
                <a:lnTo>
                  <a:pt x="355687" y="257555"/>
                </a:lnTo>
                <a:lnTo>
                  <a:pt x="362291" y="257555"/>
                </a:lnTo>
                <a:lnTo>
                  <a:pt x="358989" y="267588"/>
                </a:lnTo>
                <a:lnTo>
                  <a:pt x="358989" y="321055"/>
                </a:lnTo>
                <a:lnTo>
                  <a:pt x="398804" y="321055"/>
                </a:lnTo>
                <a:lnTo>
                  <a:pt x="401319" y="277621"/>
                </a:lnTo>
                <a:lnTo>
                  <a:pt x="401291" y="254126"/>
                </a:lnTo>
                <a:close/>
              </a:path>
              <a:path w="534034" h="351155">
                <a:moveTo>
                  <a:pt x="401160" y="227288"/>
                </a:moveTo>
                <a:lnTo>
                  <a:pt x="290679" y="227288"/>
                </a:lnTo>
                <a:lnTo>
                  <a:pt x="306982" y="228679"/>
                </a:lnTo>
                <a:lnTo>
                  <a:pt x="319571" y="234475"/>
                </a:lnTo>
                <a:lnTo>
                  <a:pt x="325969" y="247522"/>
                </a:lnTo>
                <a:lnTo>
                  <a:pt x="327517" y="266961"/>
                </a:lnTo>
                <a:lnTo>
                  <a:pt x="330922" y="290163"/>
                </a:lnTo>
                <a:lnTo>
                  <a:pt x="334327" y="309602"/>
                </a:lnTo>
                <a:lnTo>
                  <a:pt x="335875" y="317753"/>
                </a:lnTo>
                <a:lnTo>
                  <a:pt x="349083" y="317753"/>
                </a:lnTo>
                <a:lnTo>
                  <a:pt x="349083" y="254126"/>
                </a:lnTo>
                <a:lnTo>
                  <a:pt x="401291" y="254126"/>
                </a:lnTo>
                <a:lnTo>
                  <a:pt x="401160" y="227288"/>
                </a:lnTo>
                <a:close/>
              </a:path>
              <a:path w="534034" h="351155">
                <a:moveTo>
                  <a:pt x="309459" y="264159"/>
                </a:moveTo>
                <a:lnTo>
                  <a:pt x="309459" y="314325"/>
                </a:lnTo>
                <a:lnTo>
                  <a:pt x="319365" y="314325"/>
                </a:lnTo>
                <a:lnTo>
                  <a:pt x="312761" y="267588"/>
                </a:lnTo>
                <a:lnTo>
                  <a:pt x="309459" y="264159"/>
                </a:lnTo>
                <a:close/>
              </a:path>
              <a:path w="534034" h="351155">
                <a:moveTo>
                  <a:pt x="246721" y="260857"/>
                </a:moveTo>
                <a:lnTo>
                  <a:pt x="246721" y="277621"/>
                </a:lnTo>
                <a:lnTo>
                  <a:pt x="243419" y="287654"/>
                </a:lnTo>
                <a:lnTo>
                  <a:pt x="243419" y="294258"/>
                </a:lnTo>
                <a:lnTo>
                  <a:pt x="250023" y="294258"/>
                </a:lnTo>
                <a:lnTo>
                  <a:pt x="250023" y="270890"/>
                </a:lnTo>
                <a:lnTo>
                  <a:pt x="246721" y="260857"/>
                </a:lnTo>
                <a:close/>
              </a:path>
              <a:path w="534034" h="351155">
                <a:moveTo>
                  <a:pt x="240787" y="234060"/>
                </a:moveTo>
                <a:lnTo>
                  <a:pt x="197191" y="234060"/>
                </a:lnTo>
                <a:lnTo>
                  <a:pt x="203795" y="237489"/>
                </a:lnTo>
                <a:lnTo>
                  <a:pt x="210399" y="237489"/>
                </a:lnTo>
                <a:lnTo>
                  <a:pt x="210399" y="277621"/>
                </a:lnTo>
                <a:lnTo>
                  <a:pt x="231128" y="277621"/>
                </a:lnTo>
                <a:lnTo>
                  <a:pt x="232171" y="266205"/>
                </a:lnTo>
                <a:lnTo>
                  <a:pt x="233522" y="254126"/>
                </a:lnTo>
                <a:lnTo>
                  <a:pt x="234854" y="247167"/>
                </a:lnTo>
                <a:lnTo>
                  <a:pt x="236815" y="240791"/>
                </a:lnTo>
                <a:lnTo>
                  <a:pt x="240168" y="234475"/>
                </a:lnTo>
                <a:lnTo>
                  <a:pt x="240787" y="234060"/>
                </a:lnTo>
                <a:close/>
              </a:path>
              <a:path w="534034" h="351155">
                <a:moveTo>
                  <a:pt x="434935" y="133730"/>
                </a:moveTo>
                <a:lnTo>
                  <a:pt x="405217" y="133730"/>
                </a:lnTo>
                <a:lnTo>
                  <a:pt x="418425" y="267588"/>
                </a:lnTo>
                <a:lnTo>
                  <a:pt x="425184" y="261614"/>
                </a:lnTo>
                <a:lnTo>
                  <a:pt x="430395" y="255031"/>
                </a:lnTo>
                <a:lnTo>
                  <a:pt x="433748" y="249711"/>
                </a:lnTo>
                <a:lnTo>
                  <a:pt x="434935" y="247522"/>
                </a:lnTo>
                <a:lnTo>
                  <a:pt x="434935" y="133730"/>
                </a:lnTo>
                <a:close/>
              </a:path>
              <a:path w="534034" h="351155">
                <a:moveTo>
                  <a:pt x="268787" y="93599"/>
                </a:moveTo>
                <a:lnTo>
                  <a:pt x="137755" y="93599"/>
                </a:lnTo>
                <a:lnTo>
                  <a:pt x="141521" y="97305"/>
                </a:lnTo>
                <a:lnTo>
                  <a:pt x="143121" y="102869"/>
                </a:lnTo>
                <a:lnTo>
                  <a:pt x="142863" y="109672"/>
                </a:lnTo>
                <a:lnTo>
                  <a:pt x="141057" y="117093"/>
                </a:lnTo>
                <a:lnTo>
                  <a:pt x="141057" y="240791"/>
                </a:lnTo>
                <a:lnTo>
                  <a:pt x="197191" y="240791"/>
                </a:lnTo>
                <a:lnTo>
                  <a:pt x="197191" y="234060"/>
                </a:lnTo>
                <a:lnTo>
                  <a:pt x="240787" y="234060"/>
                </a:lnTo>
                <a:lnTo>
                  <a:pt x="246308" y="230362"/>
                </a:lnTo>
                <a:lnTo>
                  <a:pt x="256782" y="228129"/>
                </a:lnTo>
                <a:lnTo>
                  <a:pt x="273137" y="227456"/>
                </a:lnTo>
                <a:lnTo>
                  <a:pt x="401160" y="227288"/>
                </a:lnTo>
                <a:lnTo>
                  <a:pt x="401128" y="220725"/>
                </a:lnTo>
                <a:lnTo>
                  <a:pt x="279741" y="220725"/>
                </a:lnTo>
                <a:lnTo>
                  <a:pt x="270041" y="217846"/>
                </a:lnTo>
                <a:lnTo>
                  <a:pt x="261580" y="210264"/>
                </a:lnTo>
                <a:lnTo>
                  <a:pt x="255595" y="199562"/>
                </a:lnTo>
                <a:lnTo>
                  <a:pt x="253325" y="187325"/>
                </a:lnTo>
                <a:lnTo>
                  <a:pt x="253325" y="180593"/>
                </a:lnTo>
                <a:lnTo>
                  <a:pt x="255595" y="171317"/>
                </a:lnTo>
                <a:lnTo>
                  <a:pt x="261580" y="163909"/>
                </a:lnTo>
                <a:lnTo>
                  <a:pt x="270041" y="159002"/>
                </a:lnTo>
                <a:lnTo>
                  <a:pt x="279741" y="157225"/>
                </a:lnTo>
                <a:lnTo>
                  <a:pt x="399534" y="157225"/>
                </a:lnTo>
                <a:lnTo>
                  <a:pt x="398613" y="133730"/>
                </a:lnTo>
                <a:lnTo>
                  <a:pt x="434935" y="133730"/>
                </a:lnTo>
                <a:lnTo>
                  <a:pt x="434935" y="127126"/>
                </a:lnTo>
                <a:lnTo>
                  <a:pt x="429278" y="103631"/>
                </a:lnTo>
                <a:lnTo>
                  <a:pt x="266533" y="103631"/>
                </a:lnTo>
                <a:lnTo>
                  <a:pt x="268787" y="93599"/>
                </a:lnTo>
                <a:close/>
              </a:path>
              <a:path w="534034" h="351155">
                <a:moveTo>
                  <a:pt x="399534" y="157225"/>
                </a:moveTo>
                <a:lnTo>
                  <a:pt x="279741" y="157225"/>
                </a:lnTo>
                <a:lnTo>
                  <a:pt x="289440" y="159002"/>
                </a:lnTo>
                <a:lnTo>
                  <a:pt x="297902" y="163909"/>
                </a:lnTo>
                <a:lnTo>
                  <a:pt x="303887" y="171317"/>
                </a:lnTo>
                <a:lnTo>
                  <a:pt x="306157" y="180593"/>
                </a:lnTo>
                <a:lnTo>
                  <a:pt x="302855" y="183895"/>
                </a:lnTo>
                <a:lnTo>
                  <a:pt x="306157" y="187325"/>
                </a:lnTo>
                <a:lnTo>
                  <a:pt x="303887" y="199562"/>
                </a:lnTo>
                <a:lnTo>
                  <a:pt x="297902" y="210264"/>
                </a:lnTo>
                <a:lnTo>
                  <a:pt x="289440" y="217846"/>
                </a:lnTo>
                <a:lnTo>
                  <a:pt x="279741" y="220725"/>
                </a:lnTo>
                <a:lnTo>
                  <a:pt x="401128" y="220725"/>
                </a:lnTo>
                <a:lnTo>
                  <a:pt x="401020" y="210264"/>
                </a:lnTo>
                <a:lnTo>
                  <a:pt x="399534" y="157225"/>
                </a:lnTo>
                <a:close/>
              </a:path>
              <a:path w="534034" h="351155">
                <a:moveTo>
                  <a:pt x="236815" y="20065"/>
                </a:moveTo>
                <a:lnTo>
                  <a:pt x="157567" y="20065"/>
                </a:lnTo>
                <a:lnTo>
                  <a:pt x="123721" y="29987"/>
                </a:lnTo>
                <a:lnTo>
                  <a:pt x="107211" y="51815"/>
                </a:lnTo>
                <a:lnTo>
                  <a:pt x="101846" y="73644"/>
                </a:lnTo>
                <a:lnTo>
                  <a:pt x="101433" y="83565"/>
                </a:lnTo>
                <a:lnTo>
                  <a:pt x="101433" y="207390"/>
                </a:lnTo>
                <a:lnTo>
                  <a:pt x="128440" y="207390"/>
                </a:lnTo>
                <a:lnTo>
                  <a:pt x="131087" y="102869"/>
                </a:lnTo>
                <a:lnTo>
                  <a:pt x="131151" y="93599"/>
                </a:lnTo>
                <a:lnTo>
                  <a:pt x="268787" y="93599"/>
                </a:lnTo>
                <a:lnTo>
                  <a:pt x="272724" y="76076"/>
                </a:lnTo>
                <a:lnTo>
                  <a:pt x="286345" y="61023"/>
                </a:lnTo>
                <a:lnTo>
                  <a:pt x="299966" y="54733"/>
                </a:lnTo>
                <a:lnTo>
                  <a:pt x="306157" y="53466"/>
                </a:lnTo>
                <a:lnTo>
                  <a:pt x="282785" y="32764"/>
                </a:lnTo>
                <a:lnTo>
                  <a:pt x="260342" y="23002"/>
                </a:lnTo>
                <a:lnTo>
                  <a:pt x="243470" y="20123"/>
                </a:lnTo>
                <a:lnTo>
                  <a:pt x="236815" y="20065"/>
                </a:lnTo>
                <a:close/>
              </a:path>
              <a:path w="534034" h="351155">
                <a:moveTo>
                  <a:pt x="382103" y="70230"/>
                </a:moveTo>
                <a:lnTo>
                  <a:pt x="309459" y="70230"/>
                </a:lnTo>
                <a:lnTo>
                  <a:pt x="288460" y="75449"/>
                </a:lnTo>
                <a:lnTo>
                  <a:pt x="277677" y="86931"/>
                </a:lnTo>
                <a:lnTo>
                  <a:pt x="273704" y="98413"/>
                </a:lnTo>
                <a:lnTo>
                  <a:pt x="273137" y="103631"/>
                </a:lnTo>
                <a:lnTo>
                  <a:pt x="429278" y="103631"/>
                </a:lnTo>
                <a:lnTo>
                  <a:pt x="426680" y="92840"/>
                </a:lnTo>
                <a:lnTo>
                  <a:pt x="408519" y="76104"/>
                </a:lnTo>
                <a:lnTo>
                  <a:pt x="390358" y="70655"/>
                </a:lnTo>
                <a:lnTo>
                  <a:pt x="382103" y="70230"/>
                </a:lnTo>
                <a:close/>
              </a:path>
              <a:path w="534034" h="351155">
                <a:moveTo>
                  <a:pt x="157567" y="2891"/>
                </a:moveTo>
                <a:lnTo>
                  <a:pt x="136001" y="2891"/>
                </a:lnTo>
                <a:lnTo>
                  <a:pt x="157567" y="3301"/>
                </a:lnTo>
                <a:lnTo>
                  <a:pt x="157567" y="2891"/>
                </a:lnTo>
                <a:close/>
              </a:path>
            </a:pathLst>
          </a:custGeom>
          <a:solidFill>
            <a:srgbClr val="4471C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8" name="object 46">
            <a:extLst>
              <a:ext uri="{FF2B5EF4-FFF2-40B4-BE49-F238E27FC236}">
                <a16:creationId xmlns:a16="http://schemas.microsoft.com/office/drawing/2014/main" id="{9140889D-078A-4772-9D7C-076AFDDA8959}"/>
              </a:ext>
            </a:extLst>
          </p:cNvPr>
          <p:cNvSpPr/>
          <p:nvPr/>
        </p:nvSpPr>
        <p:spPr>
          <a:xfrm>
            <a:off x="1004034" y="3568444"/>
            <a:ext cx="13970" cy="76200"/>
          </a:xfrm>
          <a:custGeom>
            <a:avLst/>
            <a:gdLst/>
            <a:ahLst/>
            <a:cxnLst/>
            <a:rect l="l" t="t" r="r" b="b"/>
            <a:pathLst>
              <a:path w="13970" h="76200">
                <a:moveTo>
                  <a:pt x="10287" y="0"/>
                </a:moveTo>
                <a:lnTo>
                  <a:pt x="3428" y="0"/>
                </a:lnTo>
                <a:lnTo>
                  <a:pt x="0" y="76200"/>
                </a:lnTo>
                <a:lnTo>
                  <a:pt x="13716" y="76200"/>
                </a:lnTo>
                <a:lnTo>
                  <a:pt x="10287" y="0"/>
                </a:lnTo>
                <a:close/>
              </a:path>
            </a:pathLst>
          </a:custGeom>
          <a:solidFill>
            <a:srgbClr val="4471C4"/>
          </a:solidFill>
        </p:spPr>
        <p:txBody>
          <a:bodyPr wrap="square" lIns="0" tIns="0" rIns="0" bIns="0" rtlCol="0"/>
          <a:lstStyle/>
          <a:p>
            <a:endParaRPr>
              <a:solidFill>
                <a:srgbClr val="92D050"/>
              </a:solidFill>
            </a:endParaRPr>
          </a:p>
        </p:txBody>
      </p:sp>
      <p:sp>
        <p:nvSpPr>
          <p:cNvPr id="159" name="object 47">
            <a:extLst>
              <a:ext uri="{FF2B5EF4-FFF2-40B4-BE49-F238E27FC236}">
                <a16:creationId xmlns:a16="http://schemas.microsoft.com/office/drawing/2014/main" id="{DB42E994-34E4-4BFE-AB5C-289A45665778}"/>
              </a:ext>
            </a:extLst>
          </p:cNvPr>
          <p:cNvSpPr/>
          <p:nvPr/>
        </p:nvSpPr>
        <p:spPr>
          <a:xfrm>
            <a:off x="944597" y="3551679"/>
            <a:ext cx="36830" cy="93345"/>
          </a:xfrm>
          <a:custGeom>
            <a:avLst/>
            <a:gdLst/>
            <a:ahLst/>
            <a:cxnLst/>
            <a:rect l="l" t="t" r="r" b="b"/>
            <a:pathLst>
              <a:path w="36829" h="93344">
                <a:moveTo>
                  <a:pt x="0" y="0"/>
                </a:moveTo>
                <a:lnTo>
                  <a:pt x="0" y="92963"/>
                </a:lnTo>
                <a:lnTo>
                  <a:pt x="36575" y="92963"/>
                </a:lnTo>
                <a:lnTo>
                  <a:pt x="36575" y="9905"/>
                </a:lnTo>
                <a:lnTo>
                  <a:pt x="17049" y="4952"/>
                </a:lnTo>
                <a:lnTo>
                  <a:pt x="8072" y="2476"/>
                </a:lnTo>
                <a:lnTo>
                  <a:pt x="0" y="0"/>
                </a:lnTo>
                <a:close/>
              </a:path>
            </a:pathLst>
          </a:custGeom>
          <a:solidFill>
            <a:srgbClr val="4471C4"/>
          </a:solidFill>
        </p:spPr>
        <p:txBody>
          <a:bodyPr wrap="square" lIns="0" tIns="0" rIns="0" bIns="0" rtlCol="0"/>
          <a:lstStyle/>
          <a:p>
            <a:endParaRPr>
              <a:solidFill>
                <a:srgbClr val="92D050"/>
              </a:solidFill>
            </a:endParaRPr>
          </a:p>
        </p:txBody>
      </p:sp>
      <p:sp>
        <p:nvSpPr>
          <p:cNvPr id="160" name="object 48">
            <a:extLst>
              <a:ext uri="{FF2B5EF4-FFF2-40B4-BE49-F238E27FC236}">
                <a16:creationId xmlns:a16="http://schemas.microsoft.com/office/drawing/2014/main" id="{43A882E1-DE5C-4423-9463-580C2EC364B7}"/>
              </a:ext>
            </a:extLst>
          </p:cNvPr>
          <p:cNvSpPr/>
          <p:nvPr/>
        </p:nvSpPr>
        <p:spPr>
          <a:xfrm>
            <a:off x="1040609" y="3574539"/>
            <a:ext cx="82296" cy="7010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srgbClr val="92D050"/>
              </a:solidFill>
            </a:endParaRPr>
          </a:p>
        </p:txBody>
      </p:sp>
      <p:sp>
        <p:nvSpPr>
          <p:cNvPr id="161" name="object 49">
            <a:extLst>
              <a:ext uri="{FF2B5EF4-FFF2-40B4-BE49-F238E27FC236}">
                <a16:creationId xmlns:a16="http://schemas.microsoft.com/office/drawing/2014/main" id="{C7F704DD-DABA-481A-B91F-59E0F945C165}"/>
              </a:ext>
            </a:extLst>
          </p:cNvPr>
          <p:cNvSpPr/>
          <p:nvPr/>
        </p:nvSpPr>
        <p:spPr>
          <a:xfrm>
            <a:off x="876018" y="3513579"/>
            <a:ext cx="48895" cy="131445"/>
          </a:xfrm>
          <a:custGeom>
            <a:avLst/>
            <a:gdLst/>
            <a:ahLst/>
            <a:cxnLst/>
            <a:rect l="l" t="t" r="r" b="b"/>
            <a:pathLst>
              <a:path w="48895" h="131444">
                <a:moveTo>
                  <a:pt x="0" y="0"/>
                </a:moveTo>
                <a:lnTo>
                  <a:pt x="3301" y="131063"/>
                </a:lnTo>
                <a:lnTo>
                  <a:pt x="45465" y="131063"/>
                </a:lnTo>
                <a:lnTo>
                  <a:pt x="48767" y="26924"/>
                </a:lnTo>
                <a:lnTo>
                  <a:pt x="26038" y="17037"/>
                </a:lnTo>
                <a:lnTo>
                  <a:pt x="10953" y="8413"/>
                </a:lnTo>
                <a:lnTo>
                  <a:pt x="2583" y="2313"/>
                </a:lnTo>
                <a:lnTo>
                  <a:pt x="0" y="0"/>
                </a:lnTo>
                <a:close/>
              </a:path>
            </a:pathLst>
          </a:custGeom>
          <a:solidFill>
            <a:srgbClr val="4471C4"/>
          </a:solidFill>
        </p:spPr>
        <p:txBody>
          <a:bodyPr wrap="square" lIns="0" tIns="0" rIns="0" bIns="0" rtlCol="0"/>
          <a:lstStyle/>
          <a:p>
            <a:endParaRPr>
              <a:solidFill>
                <a:srgbClr val="92D050"/>
              </a:solidFill>
            </a:endParaRPr>
          </a:p>
        </p:txBody>
      </p:sp>
      <p:sp>
        <p:nvSpPr>
          <p:cNvPr id="162" name="object 50">
            <a:extLst>
              <a:ext uri="{FF2B5EF4-FFF2-40B4-BE49-F238E27FC236}">
                <a16:creationId xmlns:a16="http://schemas.microsoft.com/office/drawing/2014/main" id="{7909B160-ADD6-4797-9030-D95CCF14C800}"/>
              </a:ext>
            </a:extLst>
          </p:cNvPr>
          <p:cNvSpPr/>
          <p:nvPr/>
        </p:nvSpPr>
        <p:spPr>
          <a:xfrm>
            <a:off x="799512" y="5281648"/>
            <a:ext cx="543560" cy="457200"/>
          </a:xfrm>
          <a:custGeom>
            <a:avLst/>
            <a:gdLst/>
            <a:ahLst/>
            <a:cxnLst/>
            <a:rect l="l" t="t" r="r" b="b"/>
            <a:pathLst>
              <a:path w="543560" h="457200">
                <a:moveTo>
                  <a:pt x="387589" y="383539"/>
                </a:moveTo>
                <a:lnTo>
                  <a:pt x="15065" y="383539"/>
                </a:lnTo>
                <a:lnTo>
                  <a:pt x="56848" y="384810"/>
                </a:lnTo>
                <a:lnTo>
                  <a:pt x="56086" y="388620"/>
                </a:lnTo>
                <a:lnTo>
                  <a:pt x="56086" y="394970"/>
                </a:lnTo>
                <a:lnTo>
                  <a:pt x="60969" y="419100"/>
                </a:lnTo>
                <a:lnTo>
                  <a:pt x="74295" y="439420"/>
                </a:lnTo>
                <a:lnTo>
                  <a:pt x="94073" y="453389"/>
                </a:lnTo>
                <a:lnTo>
                  <a:pt x="118316" y="457200"/>
                </a:lnTo>
                <a:lnTo>
                  <a:pt x="142579" y="453389"/>
                </a:lnTo>
                <a:lnTo>
                  <a:pt x="162401" y="439420"/>
                </a:lnTo>
                <a:lnTo>
                  <a:pt x="175769" y="419100"/>
                </a:lnTo>
                <a:lnTo>
                  <a:pt x="118316" y="419100"/>
                </a:lnTo>
                <a:lnTo>
                  <a:pt x="108646" y="417829"/>
                </a:lnTo>
                <a:lnTo>
                  <a:pt x="100869" y="412750"/>
                </a:lnTo>
                <a:lnTo>
                  <a:pt x="95688" y="403860"/>
                </a:lnTo>
                <a:lnTo>
                  <a:pt x="93805" y="394970"/>
                </a:lnTo>
                <a:lnTo>
                  <a:pt x="93805" y="391160"/>
                </a:lnTo>
                <a:lnTo>
                  <a:pt x="94567" y="388620"/>
                </a:lnTo>
                <a:lnTo>
                  <a:pt x="95456" y="384810"/>
                </a:lnTo>
                <a:lnTo>
                  <a:pt x="386033" y="384810"/>
                </a:lnTo>
                <a:lnTo>
                  <a:pt x="387589" y="383539"/>
                </a:lnTo>
                <a:close/>
              </a:path>
              <a:path w="543560" h="457200">
                <a:moveTo>
                  <a:pt x="529207" y="360679"/>
                </a:moveTo>
                <a:lnTo>
                  <a:pt x="424894" y="360679"/>
                </a:lnTo>
                <a:lnTo>
                  <a:pt x="420955" y="368300"/>
                </a:lnTo>
                <a:lnTo>
                  <a:pt x="417861" y="375920"/>
                </a:lnTo>
                <a:lnTo>
                  <a:pt x="415839" y="384810"/>
                </a:lnTo>
                <a:lnTo>
                  <a:pt x="415115" y="394970"/>
                </a:lnTo>
                <a:lnTo>
                  <a:pt x="420000" y="419100"/>
                </a:lnTo>
                <a:lnTo>
                  <a:pt x="433339" y="439420"/>
                </a:lnTo>
                <a:lnTo>
                  <a:pt x="453155" y="453389"/>
                </a:lnTo>
                <a:lnTo>
                  <a:pt x="477472" y="457200"/>
                </a:lnTo>
                <a:lnTo>
                  <a:pt x="501854" y="453389"/>
                </a:lnTo>
                <a:lnTo>
                  <a:pt x="521938" y="439420"/>
                </a:lnTo>
                <a:lnTo>
                  <a:pt x="535568" y="419100"/>
                </a:lnTo>
                <a:lnTo>
                  <a:pt x="477472" y="419100"/>
                </a:lnTo>
                <a:lnTo>
                  <a:pt x="468050" y="417829"/>
                </a:lnTo>
                <a:lnTo>
                  <a:pt x="460200" y="412750"/>
                </a:lnTo>
                <a:lnTo>
                  <a:pt x="454826" y="403860"/>
                </a:lnTo>
                <a:lnTo>
                  <a:pt x="452834" y="394970"/>
                </a:lnTo>
                <a:lnTo>
                  <a:pt x="454826" y="384810"/>
                </a:lnTo>
                <a:lnTo>
                  <a:pt x="460200" y="377189"/>
                </a:lnTo>
                <a:lnTo>
                  <a:pt x="468050" y="372110"/>
                </a:lnTo>
                <a:lnTo>
                  <a:pt x="477472" y="369570"/>
                </a:lnTo>
                <a:lnTo>
                  <a:pt x="535568" y="369570"/>
                </a:lnTo>
                <a:lnTo>
                  <a:pt x="529207" y="360679"/>
                </a:lnTo>
                <a:close/>
              </a:path>
              <a:path w="543560" h="457200">
                <a:moveTo>
                  <a:pt x="386033" y="384810"/>
                </a:moveTo>
                <a:lnTo>
                  <a:pt x="95456" y="384810"/>
                </a:lnTo>
                <a:lnTo>
                  <a:pt x="141303" y="386079"/>
                </a:lnTo>
                <a:lnTo>
                  <a:pt x="142192" y="388620"/>
                </a:lnTo>
                <a:lnTo>
                  <a:pt x="142954" y="391160"/>
                </a:lnTo>
                <a:lnTo>
                  <a:pt x="142954" y="394970"/>
                </a:lnTo>
                <a:lnTo>
                  <a:pt x="141069" y="403860"/>
                </a:lnTo>
                <a:lnTo>
                  <a:pt x="135874" y="412750"/>
                </a:lnTo>
                <a:lnTo>
                  <a:pt x="128059" y="417829"/>
                </a:lnTo>
                <a:lnTo>
                  <a:pt x="118316" y="419100"/>
                </a:lnTo>
                <a:lnTo>
                  <a:pt x="175769" y="419100"/>
                </a:lnTo>
                <a:lnTo>
                  <a:pt x="180673" y="394970"/>
                </a:lnTo>
                <a:lnTo>
                  <a:pt x="180673" y="388620"/>
                </a:lnTo>
                <a:lnTo>
                  <a:pt x="179784" y="386079"/>
                </a:lnTo>
                <a:lnTo>
                  <a:pt x="384476" y="386079"/>
                </a:lnTo>
                <a:lnTo>
                  <a:pt x="386033" y="384810"/>
                </a:lnTo>
                <a:close/>
              </a:path>
              <a:path w="543560" h="457200">
                <a:moveTo>
                  <a:pt x="535568" y="369570"/>
                </a:moveTo>
                <a:lnTo>
                  <a:pt x="477472" y="369570"/>
                </a:lnTo>
                <a:lnTo>
                  <a:pt x="487142" y="372110"/>
                </a:lnTo>
                <a:lnTo>
                  <a:pt x="494918" y="377189"/>
                </a:lnTo>
                <a:lnTo>
                  <a:pt x="500100" y="384810"/>
                </a:lnTo>
                <a:lnTo>
                  <a:pt x="501983" y="394970"/>
                </a:lnTo>
                <a:lnTo>
                  <a:pt x="500100" y="403860"/>
                </a:lnTo>
                <a:lnTo>
                  <a:pt x="494918" y="412750"/>
                </a:lnTo>
                <a:lnTo>
                  <a:pt x="487142" y="417829"/>
                </a:lnTo>
                <a:lnTo>
                  <a:pt x="477472" y="419100"/>
                </a:lnTo>
                <a:lnTo>
                  <a:pt x="535568" y="419100"/>
                </a:lnTo>
                <a:lnTo>
                  <a:pt x="540591" y="394970"/>
                </a:lnTo>
                <a:lnTo>
                  <a:pt x="535568" y="369570"/>
                </a:lnTo>
                <a:close/>
              </a:path>
              <a:path w="543560" h="457200">
                <a:moveTo>
                  <a:pt x="384476" y="386079"/>
                </a:moveTo>
                <a:lnTo>
                  <a:pt x="199469" y="386079"/>
                </a:lnTo>
                <a:lnTo>
                  <a:pt x="199469" y="394970"/>
                </a:lnTo>
                <a:lnTo>
                  <a:pt x="211788" y="396239"/>
                </a:lnTo>
                <a:lnTo>
                  <a:pt x="275318" y="397510"/>
                </a:lnTo>
                <a:lnTo>
                  <a:pt x="331606" y="397510"/>
                </a:lnTo>
                <a:lnTo>
                  <a:pt x="350345" y="398779"/>
                </a:lnTo>
                <a:lnTo>
                  <a:pt x="369756" y="394970"/>
                </a:lnTo>
                <a:lnTo>
                  <a:pt x="384476" y="386079"/>
                </a:lnTo>
                <a:close/>
              </a:path>
              <a:path w="543560" h="457200">
                <a:moveTo>
                  <a:pt x="412700" y="374650"/>
                </a:moveTo>
                <a:lnTo>
                  <a:pt x="397081" y="374650"/>
                </a:lnTo>
                <a:lnTo>
                  <a:pt x="392128" y="381000"/>
                </a:lnTo>
                <a:lnTo>
                  <a:pt x="388826" y="391160"/>
                </a:lnTo>
                <a:lnTo>
                  <a:pt x="401552" y="386079"/>
                </a:lnTo>
                <a:lnTo>
                  <a:pt x="407860" y="381000"/>
                </a:lnTo>
                <a:lnTo>
                  <a:pt x="412700" y="374650"/>
                </a:lnTo>
                <a:close/>
              </a:path>
              <a:path w="543560" h="457200">
                <a:moveTo>
                  <a:pt x="53538" y="292100"/>
                </a:moveTo>
                <a:lnTo>
                  <a:pt x="44275" y="292100"/>
                </a:lnTo>
                <a:lnTo>
                  <a:pt x="38250" y="293370"/>
                </a:lnTo>
                <a:lnTo>
                  <a:pt x="34750" y="295910"/>
                </a:lnTo>
                <a:lnTo>
                  <a:pt x="30686" y="295910"/>
                </a:lnTo>
                <a:lnTo>
                  <a:pt x="28146" y="302260"/>
                </a:lnTo>
                <a:lnTo>
                  <a:pt x="28146" y="316229"/>
                </a:lnTo>
                <a:lnTo>
                  <a:pt x="30686" y="322579"/>
                </a:lnTo>
                <a:lnTo>
                  <a:pt x="33861" y="322579"/>
                </a:lnTo>
                <a:lnTo>
                  <a:pt x="32337" y="325120"/>
                </a:lnTo>
                <a:lnTo>
                  <a:pt x="29797" y="326389"/>
                </a:lnTo>
                <a:lnTo>
                  <a:pt x="2260" y="367029"/>
                </a:lnTo>
                <a:lnTo>
                  <a:pt x="0" y="383539"/>
                </a:lnTo>
                <a:lnTo>
                  <a:pt x="8955" y="386079"/>
                </a:lnTo>
                <a:lnTo>
                  <a:pt x="15065" y="383539"/>
                </a:lnTo>
                <a:lnTo>
                  <a:pt x="387589" y="383539"/>
                </a:lnTo>
                <a:lnTo>
                  <a:pt x="393815" y="378460"/>
                </a:lnTo>
                <a:lnTo>
                  <a:pt x="397081" y="374650"/>
                </a:lnTo>
                <a:lnTo>
                  <a:pt x="412700" y="374650"/>
                </a:lnTo>
                <a:lnTo>
                  <a:pt x="413668" y="373379"/>
                </a:lnTo>
                <a:lnTo>
                  <a:pt x="300307" y="373379"/>
                </a:lnTo>
                <a:lnTo>
                  <a:pt x="301958" y="367029"/>
                </a:lnTo>
                <a:lnTo>
                  <a:pt x="264239" y="367029"/>
                </a:lnTo>
                <a:lnTo>
                  <a:pt x="246411" y="330200"/>
                </a:lnTo>
                <a:lnTo>
                  <a:pt x="247919" y="297179"/>
                </a:lnTo>
                <a:lnTo>
                  <a:pt x="249111" y="294639"/>
                </a:lnTo>
                <a:lnTo>
                  <a:pt x="66754" y="294639"/>
                </a:lnTo>
                <a:lnTo>
                  <a:pt x="53538" y="292100"/>
                </a:lnTo>
                <a:close/>
              </a:path>
              <a:path w="543560" h="457200">
                <a:moveTo>
                  <a:pt x="383996" y="233679"/>
                </a:moveTo>
                <a:lnTo>
                  <a:pt x="376951" y="240029"/>
                </a:lnTo>
                <a:lnTo>
                  <a:pt x="376670" y="257810"/>
                </a:lnTo>
                <a:lnTo>
                  <a:pt x="381460" y="294639"/>
                </a:lnTo>
                <a:lnTo>
                  <a:pt x="384510" y="332739"/>
                </a:lnTo>
                <a:lnTo>
                  <a:pt x="382428" y="354329"/>
                </a:lnTo>
                <a:lnTo>
                  <a:pt x="378656" y="364489"/>
                </a:lnTo>
                <a:lnTo>
                  <a:pt x="376634" y="367029"/>
                </a:lnTo>
                <a:lnTo>
                  <a:pt x="352242" y="369570"/>
                </a:lnTo>
                <a:lnTo>
                  <a:pt x="331708" y="372110"/>
                </a:lnTo>
                <a:lnTo>
                  <a:pt x="314555" y="373379"/>
                </a:lnTo>
                <a:lnTo>
                  <a:pt x="413668" y="373379"/>
                </a:lnTo>
                <a:lnTo>
                  <a:pt x="424894" y="360679"/>
                </a:lnTo>
                <a:lnTo>
                  <a:pt x="529207" y="360679"/>
                </a:lnTo>
                <a:lnTo>
                  <a:pt x="521938" y="350520"/>
                </a:lnTo>
                <a:lnTo>
                  <a:pt x="501854" y="336550"/>
                </a:lnTo>
                <a:lnTo>
                  <a:pt x="495758" y="335279"/>
                </a:lnTo>
                <a:lnTo>
                  <a:pt x="455247" y="335279"/>
                </a:lnTo>
                <a:lnTo>
                  <a:pt x="462613" y="332739"/>
                </a:lnTo>
                <a:lnTo>
                  <a:pt x="467204" y="331961"/>
                </a:lnTo>
                <a:lnTo>
                  <a:pt x="487283" y="326389"/>
                </a:lnTo>
                <a:lnTo>
                  <a:pt x="529128" y="326389"/>
                </a:lnTo>
                <a:lnTo>
                  <a:pt x="514185" y="308610"/>
                </a:lnTo>
                <a:lnTo>
                  <a:pt x="505733" y="306070"/>
                </a:lnTo>
                <a:lnTo>
                  <a:pt x="440515" y="306070"/>
                </a:lnTo>
                <a:lnTo>
                  <a:pt x="436000" y="276860"/>
                </a:lnTo>
                <a:lnTo>
                  <a:pt x="432022" y="260350"/>
                </a:lnTo>
                <a:lnTo>
                  <a:pt x="426352" y="246379"/>
                </a:lnTo>
                <a:lnTo>
                  <a:pt x="419163" y="234950"/>
                </a:lnTo>
                <a:lnTo>
                  <a:pt x="399494" y="234950"/>
                </a:lnTo>
                <a:lnTo>
                  <a:pt x="383996" y="233679"/>
                </a:lnTo>
                <a:close/>
              </a:path>
              <a:path w="543560" h="457200">
                <a:moveTo>
                  <a:pt x="341669" y="229870"/>
                </a:moveTo>
                <a:lnTo>
                  <a:pt x="321643" y="229870"/>
                </a:lnTo>
                <a:lnTo>
                  <a:pt x="307421" y="246379"/>
                </a:lnTo>
                <a:lnTo>
                  <a:pt x="299783" y="257810"/>
                </a:lnTo>
                <a:lnTo>
                  <a:pt x="296122" y="267970"/>
                </a:lnTo>
                <a:lnTo>
                  <a:pt x="293830" y="280670"/>
                </a:lnTo>
                <a:lnTo>
                  <a:pt x="289361" y="299720"/>
                </a:lnTo>
                <a:lnTo>
                  <a:pt x="282749" y="318770"/>
                </a:lnTo>
                <a:lnTo>
                  <a:pt x="276756" y="332739"/>
                </a:lnTo>
                <a:lnTo>
                  <a:pt x="274145" y="339089"/>
                </a:lnTo>
                <a:lnTo>
                  <a:pt x="274907" y="339089"/>
                </a:lnTo>
                <a:lnTo>
                  <a:pt x="276558" y="340360"/>
                </a:lnTo>
                <a:lnTo>
                  <a:pt x="270843" y="350520"/>
                </a:lnTo>
                <a:lnTo>
                  <a:pt x="269192" y="354329"/>
                </a:lnTo>
                <a:lnTo>
                  <a:pt x="268430" y="358139"/>
                </a:lnTo>
                <a:lnTo>
                  <a:pt x="265890" y="358139"/>
                </a:lnTo>
                <a:lnTo>
                  <a:pt x="264239" y="367029"/>
                </a:lnTo>
                <a:lnTo>
                  <a:pt x="301958" y="367029"/>
                </a:lnTo>
                <a:lnTo>
                  <a:pt x="296243" y="363220"/>
                </a:lnTo>
                <a:lnTo>
                  <a:pt x="293385" y="360679"/>
                </a:lnTo>
                <a:lnTo>
                  <a:pt x="278209" y="360679"/>
                </a:lnTo>
                <a:lnTo>
                  <a:pt x="280622" y="354329"/>
                </a:lnTo>
                <a:lnTo>
                  <a:pt x="283924" y="346710"/>
                </a:lnTo>
                <a:lnTo>
                  <a:pt x="290203" y="346710"/>
                </a:lnTo>
                <a:lnTo>
                  <a:pt x="322206" y="292100"/>
                </a:lnTo>
                <a:lnTo>
                  <a:pt x="339423" y="259079"/>
                </a:lnTo>
                <a:lnTo>
                  <a:pt x="343876" y="240029"/>
                </a:lnTo>
                <a:lnTo>
                  <a:pt x="341669" y="229870"/>
                </a:lnTo>
                <a:close/>
              </a:path>
              <a:path w="543560" h="457200">
                <a:moveTo>
                  <a:pt x="290528" y="358139"/>
                </a:moveTo>
                <a:lnTo>
                  <a:pt x="278209" y="360679"/>
                </a:lnTo>
                <a:lnTo>
                  <a:pt x="293385" y="360679"/>
                </a:lnTo>
                <a:lnTo>
                  <a:pt x="290528" y="358139"/>
                </a:lnTo>
                <a:close/>
              </a:path>
              <a:path w="543560" h="457200">
                <a:moveTo>
                  <a:pt x="290203" y="346710"/>
                </a:moveTo>
                <a:lnTo>
                  <a:pt x="283924" y="346710"/>
                </a:lnTo>
                <a:lnTo>
                  <a:pt x="285575" y="347979"/>
                </a:lnTo>
                <a:lnTo>
                  <a:pt x="286464" y="350520"/>
                </a:lnTo>
                <a:lnTo>
                  <a:pt x="287226" y="351789"/>
                </a:lnTo>
                <a:lnTo>
                  <a:pt x="290203" y="346710"/>
                </a:lnTo>
                <a:close/>
              </a:path>
              <a:path w="543560" h="457200">
                <a:moveTo>
                  <a:pt x="529128" y="326389"/>
                </a:moveTo>
                <a:lnTo>
                  <a:pt x="487283" y="326389"/>
                </a:lnTo>
                <a:lnTo>
                  <a:pt x="515413" y="330200"/>
                </a:lnTo>
                <a:lnTo>
                  <a:pt x="535400" y="339089"/>
                </a:lnTo>
                <a:lnTo>
                  <a:pt x="543004" y="342900"/>
                </a:lnTo>
                <a:lnTo>
                  <a:pt x="529128" y="326389"/>
                </a:lnTo>
                <a:close/>
              </a:path>
              <a:path w="543560" h="457200">
                <a:moveTo>
                  <a:pt x="477472" y="331470"/>
                </a:moveTo>
                <a:lnTo>
                  <a:pt x="470106" y="331470"/>
                </a:lnTo>
                <a:lnTo>
                  <a:pt x="467204" y="331961"/>
                </a:lnTo>
                <a:lnTo>
                  <a:pt x="455247" y="335279"/>
                </a:lnTo>
                <a:lnTo>
                  <a:pt x="495758" y="335279"/>
                </a:lnTo>
                <a:lnTo>
                  <a:pt x="477472" y="331470"/>
                </a:lnTo>
                <a:close/>
              </a:path>
              <a:path w="543560" h="457200">
                <a:moveTo>
                  <a:pt x="480377" y="298450"/>
                </a:moveTo>
                <a:lnTo>
                  <a:pt x="452260" y="302260"/>
                </a:lnTo>
                <a:lnTo>
                  <a:pt x="440515" y="306070"/>
                </a:lnTo>
                <a:lnTo>
                  <a:pt x="505733" y="306070"/>
                </a:lnTo>
                <a:lnTo>
                  <a:pt x="480377" y="298450"/>
                </a:lnTo>
                <a:close/>
              </a:path>
              <a:path w="543560" h="457200">
                <a:moveTo>
                  <a:pt x="161750" y="151129"/>
                </a:moveTo>
                <a:lnTo>
                  <a:pt x="19129" y="151129"/>
                </a:lnTo>
                <a:lnTo>
                  <a:pt x="19129" y="266700"/>
                </a:lnTo>
                <a:lnTo>
                  <a:pt x="64214" y="266700"/>
                </a:lnTo>
                <a:lnTo>
                  <a:pt x="68415" y="275589"/>
                </a:lnTo>
                <a:lnTo>
                  <a:pt x="68865" y="284479"/>
                </a:lnTo>
                <a:lnTo>
                  <a:pt x="67625" y="292100"/>
                </a:lnTo>
                <a:lnTo>
                  <a:pt x="66754" y="294639"/>
                </a:lnTo>
                <a:lnTo>
                  <a:pt x="249111" y="294639"/>
                </a:lnTo>
                <a:lnTo>
                  <a:pt x="259238" y="273050"/>
                </a:lnTo>
                <a:lnTo>
                  <a:pt x="267942" y="261620"/>
                </a:lnTo>
                <a:lnTo>
                  <a:pt x="170767" y="261620"/>
                </a:lnTo>
                <a:lnTo>
                  <a:pt x="170005" y="254000"/>
                </a:lnTo>
                <a:lnTo>
                  <a:pt x="161750" y="254000"/>
                </a:lnTo>
                <a:lnTo>
                  <a:pt x="161750" y="252729"/>
                </a:lnTo>
                <a:lnTo>
                  <a:pt x="33099" y="252729"/>
                </a:lnTo>
                <a:lnTo>
                  <a:pt x="33099" y="196850"/>
                </a:lnTo>
                <a:lnTo>
                  <a:pt x="161750" y="196850"/>
                </a:lnTo>
                <a:lnTo>
                  <a:pt x="161750" y="182879"/>
                </a:lnTo>
                <a:lnTo>
                  <a:pt x="33099" y="182879"/>
                </a:lnTo>
                <a:lnTo>
                  <a:pt x="33099" y="165100"/>
                </a:lnTo>
                <a:lnTo>
                  <a:pt x="161750" y="165100"/>
                </a:lnTo>
                <a:lnTo>
                  <a:pt x="161750" y="151129"/>
                </a:lnTo>
                <a:close/>
              </a:path>
              <a:path w="543560" h="457200">
                <a:moveTo>
                  <a:pt x="197897" y="190500"/>
                </a:moveTo>
                <a:lnTo>
                  <a:pt x="193756" y="190500"/>
                </a:lnTo>
                <a:lnTo>
                  <a:pt x="185626" y="196850"/>
                </a:lnTo>
                <a:lnTo>
                  <a:pt x="174271" y="217170"/>
                </a:lnTo>
                <a:lnTo>
                  <a:pt x="177276" y="237489"/>
                </a:lnTo>
                <a:lnTo>
                  <a:pt x="185662" y="251460"/>
                </a:lnTo>
                <a:lnTo>
                  <a:pt x="190452" y="257810"/>
                </a:lnTo>
                <a:lnTo>
                  <a:pt x="179022" y="259079"/>
                </a:lnTo>
                <a:lnTo>
                  <a:pt x="170767" y="261620"/>
                </a:lnTo>
                <a:lnTo>
                  <a:pt x="267942" y="261620"/>
                </a:lnTo>
                <a:lnTo>
                  <a:pt x="270843" y="257810"/>
                </a:lnTo>
                <a:lnTo>
                  <a:pt x="286238" y="254000"/>
                </a:lnTo>
                <a:lnTo>
                  <a:pt x="291322" y="245110"/>
                </a:lnTo>
                <a:lnTo>
                  <a:pt x="289024" y="234950"/>
                </a:lnTo>
                <a:lnTo>
                  <a:pt x="282273" y="229870"/>
                </a:lnTo>
                <a:lnTo>
                  <a:pt x="341669" y="229870"/>
                </a:lnTo>
                <a:lnTo>
                  <a:pt x="340566" y="224789"/>
                </a:lnTo>
                <a:lnTo>
                  <a:pt x="325598" y="208279"/>
                </a:lnTo>
                <a:lnTo>
                  <a:pt x="313718" y="200660"/>
                </a:lnTo>
                <a:lnTo>
                  <a:pt x="205311" y="200660"/>
                </a:lnTo>
                <a:lnTo>
                  <a:pt x="200824" y="194310"/>
                </a:lnTo>
                <a:lnTo>
                  <a:pt x="197897" y="190500"/>
                </a:lnTo>
                <a:close/>
              </a:path>
              <a:path w="543560" h="457200">
                <a:moveTo>
                  <a:pt x="161750" y="196850"/>
                </a:moveTo>
                <a:lnTo>
                  <a:pt x="147907" y="196850"/>
                </a:lnTo>
                <a:lnTo>
                  <a:pt x="147907" y="252729"/>
                </a:lnTo>
                <a:lnTo>
                  <a:pt x="161750" y="252729"/>
                </a:lnTo>
                <a:lnTo>
                  <a:pt x="161750" y="196850"/>
                </a:lnTo>
                <a:close/>
              </a:path>
              <a:path w="543560" h="457200">
                <a:moveTo>
                  <a:pt x="419503" y="189229"/>
                </a:moveTo>
                <a:lnTo>
                  <a:pt x="380698" y="189229"/>
                </a:lnTo>
                <a:lnTo>
                  <a:pt x="399494" y="234950"/>
                </a:lnTo>
                <a:lnTo>
                  <a:pt x="419163" y="234950"/>
                </a:lnTo>
                <a:lnTo>
                  <a:pt x="416766" y="231139"/>
                </a:lnTo>
                <a:lnTo>
                  <a:pt x="409402" y="214629"/>
                </a:lnTo>
                <a:lnTo>
                  <a:pt x="408432" y="201929"/>
                </a:lnTo>
                <a:lnTo>
                  <a:pt x="410390" y="194310"/>
                </a:lnTo>
                <a:lnTo>
                  <a:pt x="411813" y="191770"/>
                </a:lnTo>
                <a:lnTo>
                  <a:pt x="420136" y="191770"/>
                </a:lnTo>
                <a:lnTo>
                  <a:pt x="419503" y="189229"/>
                </a:lnTo>
                <a:close/>
              </a:path>
              <a:path w="543560" h="457200">
                <a:moveTo>
                  <a:pt x="100282" y="196850"/>
                </a:moveTo>
                <a:lnTo>
                  <a:pt x="86439" y="196850"/>
                </a:lnTo>
                <a:lnTo>
                  <a:pt x="86439" y="212089"/>
                </a:lnTo>
                <a:lnTo>
                  <a:pt x="100282" y="212089"/>
                </a:lnTo>
                <a:lnTo>
                  <a:pt x="100282" y="196850"/>
                </a:lnTo>
                <a:close/>
              </a:path>
              <a:path w="543560" h="457200">
                <a:moveTo>
                  <a:pt x="247094" y="0"/>
                </a:moveTo>
                <a:lnTo>
                  <a:pt x="233154" y="3810"/>
                </a:lnTo>
                <a:lnTo>
                  <a:pt x="221678" y="11429"/>
                </a:lnTo>
                <a:lnTo>
                  <a:pt x="213893" y="22860"/>
                </a:lnTo>
                <a:lnTo>
                  <a:pt x="211026" y="36829"/>
                </a:lnTo>
                <a:lnTo>
                  <a:pt x="212627" y="46989"/>
                </a:lnTo>
                <a:lnTo>
                  <a:pt x="217074" y="57150"/>
                </a:lnTo>
                <a:lnTo>
                  <a:pt x="223831" y="64770"/>
                </a:lnTo>
                <a:lnTo>
                  <a:pt x="232362" y="69850"/>
                </a:lnTo>
                <a:lnTo>
                  <a:pt x="231473" y="69850"/>
                </a:lnTo>
                <a:lnTo>
                  <a:pt x="220575" y="93979"/>
                </a:lnTo>
                <a:lnTo>
                  <a:pt x="216106" y="128270"/>
                </a:lnTo>
                <a:lnTo>
                  <a:pt x="214399" y="161289"/>
                </a:lnTo>
                <a:lnTo>
                  <a:pt x="211788" y="182879"/>
                </a:lnTo>
                <a:lnTo>
                  <a:pt x="204422" y="190500"/>
                </a:lnTo>
                <a:lnTo>
                  <a:pt x="205311" y="200660"/>
                </a:lnTo>
                <a:lnTo>
                  <a:pt x="313718" y="200660"/>
                </a:lnTo>
                <a:lnTo>
                  <a:pt x="297878" y="190500"/>
                </a:lnTo>
                <a:lnTo>
                  <a:pt x="268325" y="175260"/>
                </a:lnTo>
                <a:lnTo>
                  <a:pt x="247856" y="166370"/>
                </a:lnTo>
                <a:lnTo>
                  <a:pt x="249507" y="166370"/>
                </a:lnTo>
                <a:lnTo>
                  <a:pt x="243455" y="152400"/>
                </a:lnTo>
                <a:lnTo>
                  <a:pt x="241093" y="143510"/>
                </a:lnTo>
                <a:lnTo>
                  <a:pt x="242113" y="138429"/>
                </a:lnTo>
                <a:lnTo>
                  <a:pt x="246205" y="133350"/>
                </a:lnTo>
                <a:lnTo>
                  <a:pt x="295494" y="133350"/>
                </a:lnTo>
                <a:lnTo>
                  <a:pt x="271605" y="118110"/>
                </a:lnTo>
                <a:lnTo>
                  <a:pt x="264731" y="110489"/>
                </a:lnTo>
                <a:lnTo>
                  <a:pt x="250332" y="93979"/>
                </a:lnTo>
                <a:lnTo>
                  <a:pt x="241458" y="78739"/>
                </a:lnTo>
                <a:lnTo>
                  <a:pt x="251158" y="74929"/>
                </a:lnTo>
                <a:lnTo>
                  <a:pt x="242141" y="72389"/>
                </a:lnTo>
                <a:lnTo>
                  <a:pt x="247094" y="72389"/>
                </a:lnTo>
                <a:lnTo>
                  <a:pt x="261034" y="69850"/>
                </a:lnTo>
                <a:lnTo>
                  <a:pt x="272510" y="62229"/>
                </a:lnTo>
                <a:lnTo>
                  <a:pt x="280294" y="50800"/>
                </a:lnTo>
                <a:lnTo>
                  <a:pt x="283162" y="36829"/>
                </a:lnTo>
                <a:lnTo>
                  <a:pt x="280294" y="22860"/>
                </a:lnTo>
                <a:lnTo>
                  <a:pt x="272510" y="11429"/>
                </a:lnTo>
                <a:lnTo>
                  <a:pt x="261034" y="3810"/>
                </a:lnTo>
                <a:lnTo>
                  <a:pt x="247094" y="0"/>
                </a:lnTo>
                <a:close/>
              </a:path>
              <a:path w="543560" h="457200">
                <a:moveTo>
                  <a:pt x="420136" y="191770"/>
                </a:moveTo>
                <a:lnTo>
                  <a:pt x="411813" y="191770"/>
                </a:lnTo>
                <a:lnTo>
                  <a:pt x="416766" y="199389"/>
                </a:lnTo>
                <a:lnTo>
                  <a:pt x="421719" y="198120"/>
                </a:lnTo>
                <a:lnTo>
                  <a:pt x="420136" y="191770"/>
                </a:lnTo>
                <a:close/>
              </a:path>
              <a:path w="543560" h="457200">
                <a:moveTo>
                  <a:pt x="295494" y="133350"/>
                </a:moveTo>
                <a:lnTo>
                  <a:pt x="246205" y="133350"/>
                </a:lnTo>
                <a:lnTo>
                  <a:pt x="332311" y="195579"/>
                </a:lnTo>
                <a:lnTo>
                  <a:pt x="333200" y="189229"/>
                </a:lnTo>
                <a:lnTo>
                  <a:pt x="337264" y="182879"/>
                </a:lnTo>
                <a:lnTo>
                  <a:pt x="341328" y="177800"/>
                </a:lnTo>
                <a:lnTo>
                  <a:pt x="352038" y="177800"/>
                </a:lnTo>
                <a:lnTo>
                  <a:pt x="353647" y="172720"/>
                </a:lnTo>
                <a:lnTo>
                  <a:pt x="355298" y="172720"/>
                </a:lnTo>
                <a:lnTo>
                  <a:pt x="348694" y="171450"/>
                </a:lnTo>
                <a:lnTo>
                  <a:pt x="349583" y="170179"/>
                </a:lnTo>
                <a:lnTo>
                  <a:pt x="351234" y="168910"/>
                </a:lnTo>
                <a:lnTo>
                  <a:pt x="295494" y="133350"/>
                </a:lnTo>
                <a:close/>
              </a:path>
              <a:path w="543560" h="457200">
                <a:moveTo>
                  <a:pt x="362664" y="165100"/>
                </a:moveTo>
                <a:lnTo>
                  <a:pt x="355298" y="172720"/>
                </a:lnTo>
                <a:lnTo>
                  <a:pt x="353647" y="172720"/>
                </a:lnTo>
                <a:lnTo>
                  <a:pt x="362664" y="176529"/>
                </a:lnTo>
                <a:lnTo>
                  <a:pt x="372443" y="180339"/>
                </a:lnTo>
                <a:lnTo>
                  <a:pt x="360251" y="187960"/>
                </a:lnTo>
                <a:lnTo>
                  <a:pt x="361013" y="190500"/>
                </a:lnTo>
                <a:lnTo>
                  <a:pt x="370792" y="191770"/>
                </a:lnTo>
                <a:lnTo>
                  <a:pt x="378285" y="191770"/>
                </a:lnTo>
                <a:lnTo>
                  <a:pt x="380698" y="189229"/>
                </a:lnTo>
                <a:lnTo>
                  <a:pt x="419503" y="189229"/>
                </a:lnTo>
                <a:lnTo>
                  <a:pt x="418236" y="184150"/>
                </a:lnTo>
                <a:lnTo>
                  <a:pt x="418623" y="171450"/>
                </a:lnTo>
                <a:lnTo>
                  <a:pt x="418865" y="170179"/>
                </a:lnTo>
                <a:lnTo>
                  <a:pt x="371681" y="170179"/>
                </a:lnTo>
                <a:lnTo>
                  <a:pt x="362664" y="165100"/>
                </a:lnTo>
                <a:close/>
              </a:path>
              <a:path w="543560" h="457200">
                <a:moveTo>
                  <a:pt x="161750" y="165100"/>
                </a:moveTo>
                <a:lnTo>
                  <a:pt x="147907" y="165100"/>
                </a:lnTo>
                <a:lnTo>
                  <a:pt x="147907" y="182879"/>
                </a:lnTo>
                <a:lnTo>
                  <a:pt x="161750" y="182879"/>
                </a:lnTo>
                <a:lnTo>
                  <a:pt x="161750" y="165100"/>
                </a:lnTo>
                <a:close/>
              </a:path>
              <a:path w="543560" h="457200">
                <a:moveTo>
                  <a:pt x="352038" y="177800"/>
                </a:moveTo>
                <a:lnTo>
                  <a:pt x="341328" y="177800"/>
                </a:lnTo>
                <a:lnTo>
                  <a:pt x="351234" y="180339"/>
                </a:lnTo>
                <a:lnTo>
                  <a:pt x="352038" y="177800"/>
                </a:lnTo>
                <a:close/>
              </a:path>
              <a:path w="543560" h="457200">
                <a:moveTo>
                  <a:pt x="396319" y="146050"/>
                </a:moveTo>
                <a:lnTo>
                  <a:pt x="387969" y="149860"/>
                </a:lnTo>
                <a:lnTo>
                  <a:pt x="379999" y="157479"/>
                </a:lnTo>
                <a:lnTo>
                  <a:pt x="374030" y="166370"/>
                </a:lnTo>
                <a:lnTo>
                  <a:pt x="371681" y="170179"/>
                </a:lnTo>
                <a:lnTo>
                  <a:pt x="418865" y="170179"/>
                </a:lnTo>
                <a:lnTo>
                  <a:pt x="420074" y="163829"/>
                </a:lnTo>
                <a:lnTo>
                  <a:pt x="410162" y="163829"/>
                </a:lnTo>
                <a:lnTo>
                  <a:pt x="407749" y="147320"/>
                </a:lnTo>
                <a:lnTo>
                  <a:pt x="396319" y="146050"/>
                </a:lnTo>
                <a:close/>
              </a:path>
              <a:path w="543560" h="457200">
                <a:moveTo>
                  <a:pt x="421719" y="158750"/>
                </a:moveTo>
                <a:lnTo>
                  <a:pt x="415115" y="158750"/>
                </a:lnTo>
                <a:lnTo>
                  <a:pt x="410162" y="163829"/>
                </a:lnTo>
                <a:lnTo>
                  <a:pt x="420074" y="163829"/>
                </a:lnTo>
                <a:lnTo>
                  <a:pt x="420558" y="161289"/>
                </a:lnTo>
                <a:lnTo>
                  <a:pt x="421719" y="15875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3" name="object 51">
            <a:extLst>
              <a:ext uri="{FF2B5EF4-FFF2-40B4-BE49-F238E27FC236}">
                <a16:creationId xmlns:a16="http://schemas.microsoft.com/office/drawing/2014/main" id="{41AF575E-AECE-4D4C-A5F5-C7916C4EC261}"/>
              </a:ext>
            </a:extLst>
          </p:cNvPr>
          <p:cNvSpPr/>
          <p:nvPr/>
        </p:nvSpPr>
        <p:spPr>
          <a:xfrm>
            <a:off x="888364" y="5475197"/>
            <a:ext cx="47244" cy="50291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4" name="object 52">
            <a:extLst>
              <a:ext uri="{FF2B5EF4-FFF2-40B4-BE49-F238E27FC236}">
                <a16:creationId xmlns:a16="http://schemas.microsoft.com/office/drawing/2014/main" id="{D69138BB-95FF-471A-B759-239D905A164A}"/>
              </a:ext>
            </a:extLst>
          </p:cNvPr>
          <p:cNvSpPr/>
          <p:nvPr/>
        </p:nvSpPr>
        <p:spPr>
          <a:xfrm>
            <a:off x="762000" y="5289269"/>
            <a:ext cx="149200" cy="11582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5" name="object 57">
            <a:extLst>
              <a:ext uri="{FF2B5EF4-FFF2-40B4-BE49-F238E27FC236}">
                <a16:creationId xmlns:a16="http://schemas.microsoft.com/office/drawing/2014/main" id="{06EBA7AD-02A8-4B55-A7B5-63D5D5C8E9D0}"/>
              </a:ext>
            </a:extLst>
          </p:cNvPr>
          <p:cNvSpPr/>
          <p:nvPr/>
        </p:nvSpPr>
        <p:spPr>
          <a:xfrm>
            <a:off x="7176799" y="1520788"/>
            <a:ext cx="367665" cy="516890"/>
          </a:xfrm>
          <a:custGeom>
            <a:avLst/>
            <a:gdLst/>
            <a:ahLst/>
            <a:cxnLst/>
            <a:rect l="l" t="t" r="r" b="b"/>
            <a:pathLst>
              <a:path w="367665" h="516889">
                <a:moveTo>
                  <a:pt x="34798" y="431291"/>
                </a:moveTo>
                <a:lnTo>
                  <a:pt x="17145" y="431291"/>
                </a:lnTo>
                <a:lnTo>
                  <a:pt x="17145" y="501522"/>
                </a:lnTo>
                <a:lnTo>
                  <a:pt x="18954" y="508277"/>
                </a:lnTo>
                <a:lnTo>
                  <a:pt x="23717" y="512984"/>
                </a:lnTo>
                <a:lnTo>
                  <a:pt x="30432" y="515739"/>
                </a:lnTo>
                <a:lnTo>
                  <a:pt x="38100" y="516635"/>
                </a:lnTo>
                <a:lnTo>
                  <a:pt x="361315" y="516635"/>
                </a:lnTo>
                <a:lnTo>
                  <a:pt x="367283" y="511936"/>
                </a:lnTo>
                <a:lnTo>
                  <a:pt x="367283" y="444626"/>
                </a:lnTo>
                <a:lnTo>
                  <a:pt x="57276" y="444626"/>
                </a:lnTo>
                <a:lnTo>
                  <a:pt x="50246" y="443132"/>
                </a:lnTo>
                <a:lnTo>
                  <a:pt x="43989" y="439531"/>
                </a:lnTo>
                <a:lnTo>
                  <a:pt x="38756" y="435143"/>
                </a:lnTo>
                <a:lnTo>
                  <a:pt x="34798" y="431291"/>
                </a:lnTo>
                <a:close/>
              </a:path>
              <a:path w="367665" h="516889">
                <a:moveTo>
                  <a:pt x="367283" y="392937"/>
                </a:moveTo>
                <a:lnTo>
                  <a:pt x="57276" y="392937"/>
                </a:lnTo>
                <a:lnTo>
                  <a:pt x="67232" y="395063"/>
                </a:lnTo>
                <a:lnTo>
                  <a:pt x="75390" y="400796"/>
                </a:lnTo>
                <a:lnTo>
                  <a:pt x="80904" y="409172"/>
                </a:lnTo>
                <a:lnTo>
                  <a:pt x="82930" y="419226"/>
                </a:lnTo>
                <a:lnTo>
                  <a:pt x="80904" y="429142"/>
                </a:lnTo>
                <a:lnTo>
                  <a:pt x="75390" y="437213"/>
                </a:lnTo>
                <a:lnTo>
                  <a:pt x="67232" y="442640"/>
                </a:lnTo>
                <a:lnTo>
                  <a:pt x="57276" y="444626"/>
                </a:lnTo>
                <a:lnTo>
                  <a:pt x="367283" y="444626"/>
                </a:lnTo>
                <a:lnTo>
                  <a:pt x="367283" y="392937"/>
                </a:lnTo>
                <a:close/>
              </a:path>
              <a:path w="367665" h="516889">
                <a:moveTo>
                  <a:pt x="49022" y="405129"/>
                </a:moveTo>
                <a:lnTo>
                  <a:pt x="47117" y="409320"/>
                </a:lnTo>
                <a:lnTo>
                  <a:pt x="6857" y="409320"/>
                </a:lnTo>
                <a:lnTo>
                  <a:pt x="6857" y="411225"/>
                </a:lnTo>
                <a:lnTo>
                  <a:pt x="6603" y="411225"/>
                </a:lnTo>
                <a:lnTo>
                  <a:pt x="6476" y="411987"/>
                </a:lnTo>
                <a:lnTo>
                  <a:pt x="2794" y="411987"/>
                </a:lnTo>
                <a:lnTo>
                  <a:pt x="0" y="413511"/>
                </a:lnTo>
                <a:lnTo>
                  <a:pt x="0" y="420623"/>
                </a:lnTo>
                <a:lnTo>
                  <a:pt x="2794" y="422147"/>
                </a:lnTo>
                <a:lnTo>
                  <a:pt x="47117" y="422147"/>
                </a:lnTo>
                <a:lnTo>
                  <a:pt x="49022" y="426465"/>
                </a:lnTo>
                <a:lnTo>
                  <a:pt x="52704" y="429005"/>
                </a:lnTo>
                <a:lnTo>
                  <a:pt x="63246" y="429005"/>
                </a:lnTo>
                <a:lnTo>
                  <a:pt x="68325" y="423417"/>
                </a:lnTo>
                <a:lnTo>
                  <a:pt x="68325" y="410971"/>
                </a:lnTo>
                <a:lnTo>
                  <a:pt x="63246" y="405637"/>
                </a:lnTo>
                <a:lnTo>
                  <a:pt x="52704" y="405637"/>
                </a:lnTo>
                <a:lnTo>
                  <a:pt x="49022" y="405129"/>
                </a:lnTo>
                <a:close/>
              </a:path>
              <a:path w="367665" h="516889">
                <a:moveTo>
                  <a:pt x="34798" y="115315"/>
                </a:moveTo>
                <a:lnTo>
                  <a:pt x="17145" y="115315"/>
                </a:lnTo>
                <a:lnTo>
                  <a:pt x="17145" y="405637"/>
                </a:lnTo>
                <a:lnTo>
                  <a:pt x="34798" y="405637"/>
                </a:lnTo>
                <a:lnTo>
                  <a:pt x="38756" y="400063"/>
                </a:lnTo>
                <a:lnTo>
                  <a:pt x="43989" y="396097"/>
                </a:lnTo>
                <a:lnTo>
                  <a:pt x="50246" y="393725"/>
                </a:lnTo>
                <a:lnTo>
                  <a:pt x="57276" y="392937"/>
                </a:lnTo>
                <a:lnTo>
                  <a:pt x="367283" y="392937"/>
                </a:lnTo>
                <a:lnTo>
                  <a:pt x="367283" y="350138"/>
                </a:lnTo>
                <a:lnTo>
                  <a:pt x="110998" y="350138"/>
                </a:lnTo>
                <a:lnTo>
                  <a:pt x="110998" y="341629"/>
                </a:lnTo>
                <a:lnTo>
                  <a:pt x="367283" y="341629"/>
                </a:lnTo>
                <a:lnTo>
                  <a:pt x="367283" y="332993"/>
                </a:lnTo>
                <a:lnTo>
                  <a:pt x="110998" y="332993"/>
                </a:lnTo>
                <a:lnTo>
                  <a:pt x="110998" y="324484"/>
                </a:lnTo>
                <a:lnTo>
                  <a:pt x="367283" y="324484"/>
                </a:lnTo>
                <a:lnTo>
                  <a:pt x="367283" y="311657"/>
                </a:lnTo>
                <a:lnTo>
                  <a:pt x="113665" y="311657"/>
                </a:lnTo>
                <a:lnTo>
                  <a:pt x="119987" y="290169"/>
                </a:lnTo>
                <a:lnTo>
                  <a:pt x="142061" y="252382"/>
                </a:lnTo>
                <a:lnTo>
                  <a:pt x="175895" y="226948"/>
                </a:lnTo>
                <a:lnTo>
                  <a:pt x="176910" y="226821"/>
                </a:lnTo>
                <a:lnTo>
                  <a:pt x="367283" y="226821"/>
                </a:lnTo>
                <a:lnTo>
                  <a:pt x="367283" y="225551"/>
                </a:lnTo>
                <a:lnTo>
                  <a:pt x="196088" y="225551"/>
                </a:lnTo>
                <a:lnTo>
                  <a:pt x="183326" y="222910"/>
                </a:lnTo>
                <a:lnTo>
                  <a:pt x="172958" y="215852"/>
                </a:lnTo>
                <a:lnTo>
                  <a:pt x="165994" y="205388"/>
                </a:lnTo>
                <a:lnTo>
                  <a:pt x="163449" y="192531"/>
                </a:lnTo>
                <a:lnTo>
                  <a:pt x="166086" y="179917"/>
                </a:lnTo>
                <a:lnTo>
                  <a:pt x="173116" y="169624"/>
                </a:lnTo>
                <a:lnTo>
                  <a:pt x="183505" y="162688"/>
                </a:lnTo>
                <a:lnTo>
                  <a:pt x="196215" y="160146"/>
                </a:lnTo>
                <a:lnTo>
                  <a:pt x="367283" y="160146"/>
                </a:lnTo>
                <a:lnTo>
                  <a:pt x="367283" y="129666"/>
                </a:lnTo>
                <a:lnTo>
                  <a:pt x="57276" y="129666"/>
                </a:lnTo>
                <a:lnTo>
                  <a:pt x="50246" y="128621"/>
                </a:lnTo>
                <a:lnTo>
                  <a:pt x="43989" y="125682"/>
                </a:lnTo>
                <a:lnTo>
                  <a:pt x="38756" y="121148"/>
                </a:lnTo>
                <a:lnTo>
                  <a:pt x="34798" y="115315"/>
                </a:lnTo>
                <a:close/>
              </a:path>
              <a:path w="367665" h="516889">
                <a:moveTo>
                  <a:pt x="367283" y="341629"/>
                </a:moveTo>
                <a:lnTo>
                  <a:pt x="281813" y="341629"/>
                </a:lnTo>
                <a:lnTo>
                  <a:pt x="281813" y="350138"/>
                </a:lnTo>
                <a:lnTo>
                  <a:pt x="367283" y="350138"/>
                </a:lnTo>
                <a:lnTo>
                  <a:pt x="367283" y="341629"/>
                </a:lnTo>
                <a:close/>
              </a:path>
              <a:path w="367665" h="516889">
                <a:moveTo>
                  <a:pt x="367283" y="324484"/>
                </a:moveTo>
                <a:lnTo>
                  <a:pt x="281813" y="324484"/>
                </a:lnTo>
                <a:lnTo>
                  <a:pt x="281813" y="332993"/>
                </a:lnTo>
                <a:lnTo>
                  <a:pt x="367283" y="332993"/>
                </a:lnTo>
                <a:lnTo>
                  <a:pt x="367283" y="324484"/>
                </a:lnTo>
                <a:close/>
              </a:path>
              <a:path w="367665" h="516889">
                <a:moveTo>
                  <a:pt x="157988" y="272922"/>
                </a:moveTo>
                <a:lnTo>
                  <a:pt x="157479" y="273303"/>
                </a:lnTo>
                <a:lnTo>
                  <a:pt x="157155" y="273303"/>
                </a:lnTo>
                <a:lnTo>
                  <a:pt x="153543" y="279780"/>
                </a:lnTo>
                <a:lnTo>
                  <a:pt x="149478" y="284733"/>
                </a:lnTo>
                <a:lnTo>
                  <a:pt x="146176" y="291591"/>
                </a:lnTo>
                <a:lnTo>
                  <a:pt x="142748" y="298449"/>
                </a:lnTo>
                <a:lnTo>
                  <a:pt x="140334" y="307466"/>
                </a:lnTo>
                <a:lnTo>
                  <a:pt x="138556" y="311657"/>
                </a:lnTo>
                <a:lnTo>
                  <a:pt x="158242" y="311657"/>
                </a:lnTo>
                <a:lnTo>
                  <a:pt x="158242" y="273303"/>
                </a:lnTo>
                <a:lnTo>
                  <a:pt x="157479" y="273303"/>
                </a:lnTo>
                <a:lnTo>
                  <a:pt x="157225" y="273176"/>
                </a:lnTo>
                <a:lnTo>
                  <a:pt x="158242" y="273176"/>
                </a:lnTo>
                <a:lnTo>
                  <a:pt x="157988" y="272922"/>
                </a:lnTo>
                <a:close/>
              </a:path>
              <a:path w="367665" h="516889">
                <a:moveTo>
                  <a:pt x="235584" y="275970"/>
                </a:moveTo>
                <a:lnTo>
                  <a:pt x="234950" y="276605"/>
                </a:lnTo>
                <a:lnTo>
                  <a:pt x="234950" y="311657"/>
                </a:lnTo>
                <a:lnTo>
                  <a:pt x="251841" y="311657"/>
                </a:lnTo>
                <a:lnTo>
                  <a:pt x="249219" y="302502"/>
                </a:lnTo>
                <a:lnTo>
                  <a:pt x="246014" y="294036"/>
                </a:lnTo>
                <a:lnTo>
                  <a:pt x="242055" y="285876"/>
                </a:lnTo>
                <a:lnTo>
                  <a:pt x="236854" y="277113"/>
                </a:lnTo>
                <a:lnTo>
                  <a:pt x="236347" y="276859"/>
                </a:lnTo>
                <a:lnTo>
                  <a:pt x="235839" y="276224"/>
                </a:lnTo>
                <a:lnTo>
                  <a:pt x="235584" y="275970"/>
                </a:lnTo>
                <a:close/>
              </a:path>
              <a:path w="367665" h="516889">
                <a:moveTo>
                  <a:pt x="367283" y="226821"/>
                </a:moveTo>
                <a:lnTo>
                  <a:pt x="176910" y="226821"/>
                </a:lnTo>
                <a:lnTo>
                  <a:pt x="177926" y="227202"/>
                </a:lnTo>
                <a:lnTo>
                  <a:pt x="213105" y="227456"/>
                </a:lnTo>
                <a:lnTo>
                  <a:pt x="217931" y="227456"/>
                </a:lnTo>
                <a:lnTo>
                  <a:pt x="222376" y="229107"/>
                </a:lnTo>
                <a:lnTo>
                  <a:pt x="254634" y="260857"/>
                </a:lnTo>
                <a:lnTo>
                  <a:pt x="273048" y="298791"/>
                </a:lnTo>
                <a:lnTo>
                  <a:pt x="276605" y="311657"/>
                </a:lnTo>
                <a:lnTo>
                  <a:pt x="367283" y="311657"/>
                </a:lnTo>
                <a:lnTo>
                  <a:pt x="367283" y="226821"/>
                </a:lnTo>
                <a:close/>
              </a:path>
              <a:path w="367665" h="516889">
                <a:moveTo>
                  <a:pt x="367283" y="160146"/>
                </a:moveTo>
                <a:lnTo>
                  <a:pt x="196215" y="160146"/>
                </a:lnTo>
                <a:lnTo>
                  <a:pt x="209016" y="162690"/>
                </a:lnTo>
                <a:lnTo>
                  <a:pt x="219471" y="169640"/>
                </a:lnTo>
                <a:lnTo>
                  <a:pt x="226522" y="179970"/>
                </a:lnTo>
                <a:lnTo>
                  <a:pt x="229107" y="192658"/>
                </a:lnTo>
                <a:lnTo>
                  <a:pt x="226591" y="205513"/>
                </a:lnTo>
                <a:lnTo>
                  <a:pt x="219551" y="215963"/>
                </a:lnTo>
                <a:lnTo>
                  <a:pt x="209034" y="222984"/>
                </a:lnTo>
                <a:lnTo>
                  <a:pt x="196088" y="225551"/>
                </a:lnTo>
                <a:lnTo>
                  <a:pt x="367283" y="225551"/>
                </a:lnTo>
                <a:lnTo>
                  <a:pt x="367283" y="160146"/>
                </a:lnTo>
                <a:close/>
              </a:path>
              <a:path w="367665" h="516889">
                <a:moveTo>
                  <a:pt x="367283" y="78485"/>
                </a:moveTo>
                <a:lnTo>
                  <a:pt x="57276" y="78485"/>
                </a:lnTo>
                <a:lnTo>
                  <a:pt x="67232" y="80730"/>
                </a:lnTo>
                <a:lnTo>
                  <a:pt x="75390" y="86725"/>
                </a:lnTo>
                <a:lnTo>
                  <a:pt x="80904" y="95363"/>
                </a:lnTo>
                <a:lnTo>
                  <a:pt x="82930" y="105536"/>
                </a:lnTo>
                <a:lnTo>
                  <a:pt x="80904" y="115254"/>
                </a:lnTo>
                <a:lnTo>
                  <a:pt x="75390" y="122888"/>
                </a:lnTo>
                <a:lnTo>
                  <a:pt x="67232" y="127879"/>
                </a:lnTo>
                <a:lnTo>
                  <a:pt x="57276" y="129666"/>
                </a:lnTo>
                <a:lnTo>
                  <a:pt x="367283" y="129666"/>
                </a:lnTo>
                <a:lnTo>
                  <a:pt x="367283" y="78485"/>
                </a:lnTo>
                <a:close/>
              </a:path>
              <a:path w="367665" h="516889">
                <a:moveTo>
                  <a:pt x="63246" y="93979"/>
                </a:moveTo>
                <a:lnTo>
                  <a:pt x="49022" y="93979"/>
                </a:lnTo>
                <a:lnTo>
                  <a:pt x="47117" y="98170"/>
                </a:lnTo>
                <a:lnTo>
                  <a:pt x="6857" y="98170"/>
                </a:lnTo>
                <a:lnTo>
                  <a:pt x="6857" y="99948"/>
                </a:lnTo>
                <a:lnTo>
                  <a:pt x="6603" y="99948"/>
                </a:lnTo>
                <a:lnTo>
                  <a:pt x="6476" y="100710"/>
                </a:lnTo>
                <a:lnTo>
                  <a:pt x="2794" y="100710"/>
                </a:lnTo>
                <a:lnTo>
                  <a:pt x="0" y="104012"/>
                </a:lnTo>
                <a:lnTo>
                  <a:pt x="0" y="111124"/>
                </a:lnTo>
                <a:lnTo>
                  <a:pt x="2794" y="114172"/>
                </a:lnTo>
                <a:lnTo>
                  <a:pt x="6476" y="114172"/>
                </a:lnTo>
                <a:lnTo>
                  <a:pt x="6603" y="114807"/>
                </a:lnTo>
                <a:lnTo>
                  <a:pt x="6857" y="114807"/>
                </a:lnTo>
                <a:lnTo>
                  <a:pt x="6857" y="115315"/>
                </a:lnTo>
                <a:lnTo>
                  <a:pt x="47117" y="115315"/>
                </a:lnTo>
                <a:lnTo>
                  <a:pt x="49022" y="119506"/>
                </a:lnTo>
                <a:lnTo>
                  <a:pt x="52704" y="119125"/>
                </a:lnTo>
                <a:lnTo>
                  <a:pt x="63246" y="119125"/>
                </a:lnTo>
                <a:lnTo>
                  <a:pt x="68325" y="112267"/>
                </a:lnTo>
                <a:lnTo>
                  <a:pt x="68325" y="99821"/>
                </a:lnTo>
                <a:lnTo>
                  <a:pt x="63246" y="93979"/>
                </a:lnTo>
                <a:close/>
              </a:path>
              <a:path w="367665" h="516889">
                <a:moveTo>
                  <a:pt x="351027" y="0"/>
                </a:moveTo>
                <a:lnTo>
                  <a:pt x="38100" y="0"/>
                </a:lnTo>
                <a:lnTo>
                  <a:pt x="30432" y="2087"/>
                </a:lnTo>
                <a:lnTo>
                  <a:pt x="23717" y="7461"/>
                </a:lnTo>
                <a:lnTo>
                  <a:pt x="18954" y="14787"/>
                </a:lnTo>
                <a:lnTo>
                  <a:pt x="17145" y="22732"/>
                </a:lnTo>
                <a:lnTo>
                  <a:pt x="17145" y="89661"/>
                </a:lnTo>
                <a:lnTo>
                  <a:pt x="34798" y="89661"/>
                </a:lnTo>
                <a:lnTo>
                  <a:pt x="39116" y="81152"/>
                </a:lnTo>
                <a:lnTo>
                  <a:pt x="47498" y="78485"/>
                </a:lnTo>
                <a:lnTo>
                  <a:pt x="367283" y="78485"/>
                </a:lnTo>
                <a:lnTo>
                  <a:pt x="367283" y="22732"/>
                </a:lnTo>
                <a:lnTo>
                  <a:pt x="366190" y="14787"/>
                </a:lnTo>
                <a:lnTo>
                  <a:pt x="363013" y="7461"/>
                </a:lnTo>
                <a:lnTo>
                  <a:pt x="357907" y="2087"/>
                </a:lnTo>
                <a:lnTo>
                  <a:pt x="351027" y="0"/>
                </a:lnTo>
                <a:close/>
              </a:path>
            </a:pathLst>
          </a:custGeom>
          <a:solidFill>
            <a:srgbClr val="5B9BD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6" name="object 129">
            <a:extLst>
              <a:ext uri="{FF2B5EF4-FFF2-40B4-BE49-F238E27FC236}">
                <a16:creationId xmlns:a16="http://schemas.microsoft.com/office/drawing/2014/main" id="{910AD517-B566-41B1-8566-F42ECCE411B2}"/>
              </a:ext>
            </a:extLst>
          </p:cNvPr>
          <p:cNvSpPr txBox="1"/>
          <p:nvPr/>
        </p:nvSpPr>
        <p:spPr>
          <a:xfrm>
            <a:off x="7801316" y="1610415"/>
            <a:ext cx="2878823" cy="29046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b="1" dirty="0">
                <a:latin typeface="Arial"/>
                <a:ea typeface="+mj-ea"/>
                <a:cs typeface="Arial"/>
              </a:rPr>
              <a:t>Appointment Services</a:t>
            </a:r>
            <a:endParaRPr b="1" dirty="0">
              <a:latin typeface="Arial"/>
              <a:ea typeface="+mj-ea"/>
              <a:cs typeface="Arial"/>
            </a:endParaRPr>
          </a:p>
        </p:txBody>
      </p:sp>
      <p:sp>
        <p:nvSpPr>
          <p:cNvPr id="167" name="object 56">
            <a:extLst>
              <a:ext uri="{FF2B5EF4-FFF2-40B4-BE49-F238E27FC236}">
                <a16:creationId xmlns:a16="http://schemas.microsoft.com/office/drawing/2014/main" id="{F07043ED-646D-4998-9E1F-60ABD6D37D28}"/>
              </a:ext>
            </a:extLst>
          </p:cNvPr>
          <p:cNvSpPr/>
          <p:nvPr/>
        </p:nvSpPr>
        <p:spPr>
          <a:xfrm>
            <a:off x="7069483" y="2397101"/>
            <a:ext cx="582295" cy="552450"/>
          </a:xfrm>
          <a:custGeom>
            <a:avLst/>
            <a:gdLst/>
            <a:ahLst/>
            <a:cxnLst/>
            <a:rect l="l" t="t" r="r" b="b"/>
            <a:pathLst>
              <a:path w="582295" h="552450">
                <a:moveTo>
                  <a:pt x="379674" y="515620"/>
                </a:moveTo>
                <a:lnTo>
                  <a:pt x="228671" y="515620"/>
                </a:lnTo>
                <a:lnTo>
                  <a:pt x="221581" y="516890"/>
                </a:lnTo>
                <a:lnTo>
                  <a:pt x="215765" y="520700"/>
                </a:lnTo>
                <a:lnTo>
                  <a:pt x="211830" y="527050"/>
                </a:lnTo>
                <a:lnTo>
                  <a:pt x="210383" y="534670"/>
                </a:lnTo>
                <a:lnTo>
                  <a:pt x="211830" y="542290"/>
                </a:lnTo>
                <a:lnTo>
                  <a:pt x="215765" y="547370"/>
                </a:lnTo>
                <a:lnTo>
                  <a:pt x="221581" y="551180"/>
                </a:lnTo>
                <a:lnTo>
                  <a:pt x="228671" y="552450"/>
                </a:lnTo>
                <a:lnTo>
                  <a:pt x="379674" y="552450"/>
                </a:lnTo>
                <a:lnTo>
                  <a:pt x="386764" y="551180"/>
                </a:lnTo>
                <a:lnTo>
                  <a:pt x="392580" y="547370"/>
                </a:lnTo>
                <a:lnTo>
                  <a:pt x="396515" y="542290"/>
                </a:lnTo>
                <a:lnTo>
                  <a:pt x="397962" y="534670"/>
                </a:lnTo>
                <a:lnTo>
                  <a:pt x="396515" y="527050"/>
                </a:lnTo>
                <a:lnTo>
                  <a:pt x="392580" y="520700"/>
                </a:lnTo>
                <a:lnTo>
                  <a:pt x="386764" y="516890"/>
                </a:lnTo>
                <a:lnTo>
                  <a:pt x="379674" y="515620"/>
                </a:lnTo>
                <a:close/>
              </a:path>
              <a:path w="582295" h="552450">
                <a:moveTo>
                  <a:pt x="351480" y="407670"/>
                </a:moveTo>
                <a:lnTo>
                  <a:pt x="256738" y="407670"/>
                </a:lnTo>
                <a:lnTo>
                  <a:pt x="256738" y="515620"/>
                </a:lnTo>
                <a:lnTo>
                  <a:pt x="351480" y="515620"/>
                </a:lnTo>
                <a:lnTo>
                  <a:pt x="351480" y="407670"/>
                </a:lnTo>
                <a:close/>
              </a:path>
              <a:path w="582295" h="552450">
                <a:moveTo>
                  <a:pt x="466004" y="407670"/>
                </a:moveTo>
                <a:lnTo>
                  <a:pt x="351861" y="407670"/>
                </a:lnTo>
                <a:lnTo>
                  <a:pt x="523311" y="482600"/>
                </a:lnTo>
                <a:lnTo>
                  <a:pt x="529524" y="485140"/>
                </a:lnTo>
                <a:lnTo>
                  <a:pt x="548330" y="494030"/>
                </a:lnTo>
                <a:lnTo>
                  <a:pt x="556918" y="496570"/>
                </a:lnTo>
                <a:lnTo>
                  <a:pt x="565411" y="495300"/>
                </a:lnTo>
                <a:lnTo>
                  <a:pt x="573047" y="492760"/>
                </a:lnTo>
                <a:lnTo>
                  <a:pt x="579064" y="485140"/>
                </a:lnTo>
                <a:lnTo>
                  <a:pt x="581743" y="477520"/>
                </a:lnTo>
                <a:lnTo>
                  <a:pt x="581350" y="467360"/>
                </a:lnTo>
                <a:lnTo>
                  <a:pt x="577814" y="459740"/>
                </a:lnTo>
                <a:lnTo>
                  <a:pt x="571063" y="453390"/>
                </a:lnTo>
                <a:lnTo>
                  <a:pt x="466004" y="407670"/>
                </a:lnTo>
                <a:close/>
              </a:path>
              <a:path w="582295" h="552450">
                <a:moveTo>
                  <a:pt x="27249" y="149860"/>
                </a:moveTo>
                <a:lnTo>
                  <a:pt x="21788" y="149860"/>
                </a:lnTo>
                <a:lnTo>
                  <a:pt x="10207" y="153670"/>
                </a:lnTo>
                <a:lnTo>
                  <a:pt x="2103" y="163830"/>
                </a:lnTo>
                <a:lnTo>
                  <a:pt x="0" y="176530"/>
                </a:lnTo>
                <a:lnTo>
                  <a:pt x="6421" y="189230"/>
                </a:lnTo>
                <a:lnTo>
                  <a:pt x="129738" y="314960"/>
                </a:lnTo>
                <a:lnTo>
                  <a:pt x="182655" y="369570"/>
                </a:lnTo>
                <a:lnTo>
                  <a:pt x="200350" y="387350"/>
                </a:lnTo>
                <a:lnTo>
                  <a:pt x="208986" y="397510"/>
                </a:lnTo>
                <a:lnTo>
                  <a:pt x="213558" y="401320"/>
                </a:lnTo>
                <a:lnTo>
                  <a:pt x="221956" y="406400"/>
                </a:lnTo>
                <a:lnTo>
                  <a:pt x="241704" y="408940"/>
                </a:lnTo>
                <a:lnTo>
                  <a:pt x="251531" y="407670"/>
                </a:lnTo>
                <a:lnTo>
                  <a:pt x="466004" y="407670"/>
                </a:lnTo>
                <a:lnTo>
                  <a:pt x="433903" y="393700"/>
                </a:lnTo>
                <a:lnTo>
                  <a:pt x="418018" y="387350"/>
                </a:lnTo>
                <a:lnTo>
                  <a:pt x="370530" y="367030"/>
                </a:lnTo>
                <a:lnTo>
                  <a:pt x="356737" y="363220"/>
                </a:lnTo>
                <a:lnTo>
                  <a:pt x="342193" y="361950"/>
                </a:lnTo>
                <a:lnTo>
                  <a:pt x="238958" y="361950"/>
                </a:lnTo>
                <a:lnTo>
                  <a:pt x="134003" y="254000"/>
                </a:lnTo>
                <a:lnTo>
                  <a:pt x="63952" y="182880"/>
                </a:lnTo>
                <a:lnTo>
                  <a:pt x="51109" y="170180"/>
                </a:lnTo>
                <a:lnTo>
                  <a:pt x="38171" y="156210"/>
                </a:lnTo>
                <a:lnTo>
                  <a:pt x="33091" y="151130"/>
                </a:lnTo>
                <a:lnTo>
                  <a:pt x="27249" y="149860"/>
                </a:lnTo>
                <a:close/>
              </a:path>
              <a:path w="582295" h="552450">
                <a:moveTo>
                  <a:pt x="506549" y="337820"/>
                </a:moveTo>
                <a:lnTo>
                  <a:pt x="392628" y="337820"/>
                </a:lnTo>
                <a:lnTo>
                  <a:pt x="517088" y="392430"/>
                </a:lnTo>
                <a:lnTo>
                  <a:pt x="525676" y="394970"/>
                </a:lnTo>
                <a:lnTo>
                  <a:pt x="534169" y="394970"/>
                </a:lnTo>
                <a:lnTo>
                  <a:pt x="541805" y="391160"/>
                </a:lnTo>
                <a:lnTo>
                  <a:pt x="547822" y="383540"/>
                </a:lnTo>
                <a:lnTo>
                  <a:pt x="550501" y="375920"/>
                </a:lnTo>
                <a:lnTo>
                  <a:pt x="550108" y="367030"/>
                </a:lnTo>
                <a:lnTo>
                  <a:pt x="546572" y="358140"/>
                </a:lnTo>
                <a:lnTo>
                  <a:pt x="539821" y="353060"/>
                </a:lnTo>
                <a:lnTo>
                  <a:pt x="512411" y="340360"/>
                </a:lnTo>
                <a:lnTo>
                  <a:pt x="506549" y="337820"/>
                </a:lnTo>
                <a:close/>
              </a:path>
              <a:path w="582295" h="552450">
                <a:moveTo>
                  <a:pt x="174188" y="186690"/>
                </a:moveTo>
                <a:lnTo>
                  <a:pt x="168600" y="186690"/>
                </a:lnTo>
                <a:lnTo>
                  <a:pt x="157039" y="191770"/>
                </a:lnTo>
                <a:lnTo>
                  <a:pt x="148978" y="200660"/>
                </a:lnTo>
                <a:lnTo>
                  <a:pt x="146919" y="213360"/>
                </a:lnTo>
                <a:lnTo>
                  <a:pt x="153360" y="226060"/>
                </a:lnTo>
                <a:lnTo>
                  <a:pt x="238069" y="312420"/>
                </a:lnTo>
                <a:lnTo>
                  <a:pt x="246056" y="321310"/>
                </a:lnTo>
                <a:lnTo>
                  <a:pt x="254436" y="328930"/>
                </a:lnTo>
                <a:lnTo>
                  <a:pt x="263840" y="335280"/>
                </a:lnTo>
                <a:lnTo>
                  <a:pt x="274899" y="337820"/>
                </a:lnTo>
                <a:lnTo>
                  <a:pt x="290329" y="339090"/>
                </a:lnTo>
                <a:lnTo>
                  <a:pt x="321190" y="339090"/>
                </a:lnTo>
                <a:lnTo>
                  <a:pt x="336621" y="337820"/>
                </a:lnTo>
                <a:lnTo>
                  <a:pt x="506549" y="337820"/>
                </a:lnTo>
                <a:lnTo>
                  <a:pt x="421463" y="300990"/>
                </a:lnTo>
                <a:lnTo>
                  <a:pt x="402790" y="293370"/>
                </a:lnTo>
                <a:lnTo>
                  <a:pt x="393263" y="292100"/>
                </a:lnTo>
                <a:lnTo>
                  <a:pt x="282011" y="292100"/>
                </a:lnTo>
                <a:lnTo>
                  <a:pt x="233608" y="242570"/>
                </a:lnTo>
                <a:lnTo>
                  <a:pt x="185110" y="194310"/>
                </a:lnTo>
                <a:lnTo>
                  <a:pt x="180030" y="187960"/>
                </a:lnTo>
                <a:lnTo>
                  <a:pt x="174188" y="186690"/>
                </a:lnTo>
                <a:close/>
              </a:path>
              <a:path w="582295" h="552450">
                <a:moveTo>
                  <a:pt x="496865" y="201930"/>
                </a:moveTo>
                <a:lnTo>
                  <a:pt x="445587" y="201930"/>
                </a:lnTo>
                <a:lnTo>
                  <a:pt x="447238" y="204470"/>
                </a:lnTo>
                <a:lnTo>
                  <a:pt x="448127" y="204470"/>
                </a:lnTo>
                <a:lnTo>
                  <a:pt x="448889" y="205740"/>
                </a:lnTo>
                <a:lnTo>
                  <a:pt x="471050" y="251460"/>
                </a:lnTo>
                <a:lnTo>
                  <a:pt x="482417" y="297180"/>
                </a:lnTo>
                <a:lnTo>
                  <a:pt x="485483" y="306070"/>
                </a:lnTo>
                <a:lnTo>
                  <a:pt x="490942" y="313690"/>
                </a:lnTo>
                <a:lnTo>
                  <a:pt x="498330" y="317500"/>
                </a:lnTo>
                <a:lnTo>
                  <a:pt x="507182" y="317500"/>
                </a:lnTo>
                <a:lnTo>
                  <a:pt x="515776" y="314960"/>
                </a:lnTo>
                <a:lnTo>
                  <a:pt x="522025" y="308610"/>
                </a:lnTo>
                <a:lnTo>
                  <a:pt x="525488" y="300990"/>
                </a:lnTo>
                <a:lnTo>
                  <a:pt x="525724" y="290830"/>
                </a:lnTo>
                <a:lnTo>
                  <a:pt x="519678" y="260350"/>
                </a:lnTo>
                <a:lnTo>
                  <a:pt x="510595" y="231140"/>
                </a:lnTo>
                <a:lnTo>
                  <a:pt x="498346" y="204470"/>
                </a:lnTo>
                <a:lnTo>
                  <a:pt x="496865" y="201930"/>
                </a:lnTo>
                <a:close/>
              </a:path>
              <a:path w="582295" h="552450">
                <a:moveTo>
                  <a:pt x="474306" y="166370"/>
                </a:moveTo>
                <a:lnTo>
                  <a:pt x="423489" y="166370"/>
                </a:lnTo>
                <a:lnTo>
                  <a:pt x="423489" y="177800"/>
                </a:lnTo>
                <a:lnTo>
                  <a:pt x="434411" y="177800"/>
                </a:lnTo>
                <a:lnTo>
                  <a:pt x="434411" y="187960"/>
                </a:lnTo>
                <a:lnTo>
                  <a:pt x="423489" y="187960"/>
                </a:lnTo>
                <a:lnTo>
                  <a:pt x="423489" y="199390"/>
                </a:lnTo>
                <a:lnTo>
                  <a:pt x="309443" y="199390"/>
                </a:lnTo>
                <a:lnTo>
                  <a:pt x="309443" y="281940"/>
                </a:lnTo>
                <a:lnTo>
                  <a:pt x="395041" y="281940"/>
                </a:lnTo>
                <a:lnTo>
                  <a:pt x="404512" y="283210"/>
                </a:lnTo>
                <a:lnTo>
                  <a:pt x="423169" y="290830"/>
                </a:lnTo>
                <a:lnTo>
                  <a:pt x="431998" y="294640"/>
                </a:lnTo>
                <a:lnTo>
                  <a:pt x="436570" y="297180"/>
                </a:lnTo>
                <a:lnTo>
                  <a:pt x="441015" y="298450"/>
                </a:lnTo>
                <a:lnTo>
                  <a:pt x="445587" y="300990"/>
                </a:lnTo>
                <a:lnTo>
                  <a:pt x="445587" y="201930"/>
                </a:lnTo>
                <a:lnTo>
                  <a:pt x="496865" y="201930"/>
                </a:lnTo>
                <a:lnTo>
                  <a:pt x="482798" y="177800"/>
                </a:lnTo>
                <a:lnTo>
                  <a:pt x="474306" y="166370"/>
                </a:lnTo>
                <a:close/>
              </a:path>
              <a:path w="582295" h="552450">
                <a:moveTo>
                  <a:pt x="227274" y="73660"/>
                </a:moveTo>
                <a:lnTo>
                  <a:pt x="223210" y="73660"/>
                </a:lnTo>
                <a:lnTo>
                  <a:pt x="214447" y="74930"/>
                </a:lnTo>
                <a:lnTo>
                  <a:pt x="201366" y="74930"/>
                </a:lnTo>
                <a:lnTo>
                  <a:pt x="202128" y="76200"/>
                </a:lnTo>
                <a:lnTo>
                  <a:pt x="202636" y="76200"/>
                </a:lnTo>
                <a:lnTo>
                  <a:pt x="210891" y="81280"/>
                </a:lnTo>
                <a:lnTo>
                  <a:pt x="212923" y="85090"/>
                </a:lnTo>
                <a:lnTo>
                  <a:pt x="209367" y="88900"/>
                </a:lnTo>
                <a:lnTo>
                  <a:pt x="207081" y="95250"/>
                </a:lnTo>
                <a:lnTo>
                  <a:pt x="207081" y="102870"/>
                </a:lnTo>
                <a:lnTo>
                  <a:pt x="207462" y="105410"/>
                </a:lnTo>
                <a:lnTo>
                  <a:pt x="221043" y="157480"/>
                </a:lnTo>
                <a:lnTo>
                  <a:pt x="235878" y="184150"/>
                </a:lnTo>
                <a:lnTo>
                  <a:pt x="261905" y="194310"/>
                </a:lnTo>
                <a:lnTo>
                  <a:pt x="308554" y="195580"/>
                </a:lnTo>
                <a:lnTo>
                  <a:pt x="308935" y="196850"/>
                </a:lnTo>
                <a:lnTo>
                  <a:pt x="308681" y="198120"/>
                </a:lnTo>
                <a:lnTo>
                  <a:pt x="309316" y="198120"/>
                </a:lnTo>
                <a:lnTo>
                  <a:pt x="309316" y="199390"/>
                </a:lnTo>
                <a:lnTo>
                  <a:pt x="413329" y="199390"/>
                </a:lnTo>
                <a:lnTo>
                  <a:pt x="413329" y="187960"/>
                </a:lnTo>
                <a:lnTo>
                  <a:pt x="402407" y="187960"/>
                </a:lnTo>
                <a:lnTo>
                  <a:pt x="402407" y="177800"/>
                </a:lnTo>
                <a:lnTo>
                  <a:pt x="413329" y="177800"/>
                </a:lnTo>
                <a:lnTo>
                  <a:pt x="413329" y="166370"/>
                </a:lnTo>
                <a:lnTo>
                  <a:pt x="474306" y="166370"/>
                </a:lnTo>
                <a:lnTo>
                  <a:pt x="471475" y="162560"/>
                </a:lnTo>
                <a:lnTo>
                  <a:pt x="458985" y="148590"/>
                </a:lnTo>
                <a:lnTo>
                  <a:pt x="449209" y="138430"/>
                </a:lnTo>
                <a:lnTo>
                  <a:pt x="277024" y="138430"/>
                </a:lnTo>
                <a:lnTo>
                  <a:pt x="265676" y="130810"/>
                </a:lnTo>
                <a:lnTo>
                  <a:pt x="257923" y="118110"/>
                </a:lnTo>
                <a:lnTo>
                  <a:pt x="253182" y="106680"/>
                </a:lnTo>
                <a:lnTo>
                  <a:pt x="255214" y="102870"/>
                </a:lnTo>
                <a:lnTo>
                  <a:pt x="255468" y="101600"/>
                </a:lnTo>
                <a:lnTo>
                  <a:pt x="258770" y="96520"/>
                </a:lnTo>
                <a:lnTo>
                  <a:pt x="259659" y="93980"/>
                </a:lnTo>
                <a:lnTo>
                  <a:pt x="259024" y="92710"/>
                </a:lnTo>
                <a:lnTo>
                  <a:pt x="257500" y="91440"/>
                </a:lnTo>
                <a:lnTo>
                  <a:pt x="242514" y="82550"/>
                </a:lnTo>
                <a:lnTo>
                  <a:pt x="240990" y="81280"/>
                </a:lnTo>
                <a:lnTo>
                  <a:pt x="239085" y="81280"/>
                </a:lnTo>
                <a:lnTo>
                  <a:pt x="237180" y="80010"/>
                </a:lnTo>
                <a:lnTo>
                  <a:pt x="227274" y="73660"/>
                </a:lnTo>
                <a:close/>
              </a:path>
              <a:path w="582295" h="552450">
                <a:moveTo>
                  <a:pt x="122245" y="74930"/>
                </a:moveTo>
                <a:lnTo>
                  <a:pt x="99601" y="80010"/>
                </a:lnTo>
                <a:lnTo>
                  <a:pt x="81113" y="92710"/>
                </a:lnTo>
                <a:lnTo>
                  <a:pt x="68649" y="110490"/>
                </a:lnTo>
                <a:lnTo>
                  <a:pt x="64079" y="134620"/>
                </a:lnTo>
                <a:lnTo>
                  <a:pt x="68649" y="157480"/>
                </a:lnTo>
                <a:lnTo>
                  <a:pt x="81113" y="176530"/>
                </a:lnTo>
                <a:lnTo>
                  <a:pt x="99601" y="189230"/>
                </a:lnTo>
                <a:lnTo>
                  <a:pt x="122245" y="193040"/>
                </a:lnTo>
                <a:lnTo>
                  <a:pt x="144889" y="189230"/>
                </a:lnTo>
                <a:lnTo>
                  <a:pt x="163377" y="176530"/>
                </a:lnTo>
                <a:lnTo>
                  <a:pt x="175841" y="157480"/>
                </a:lnTo>
                <a:lnTo>
                  <a:pt x="180411" y="134620"/>
                </a:lnTo>
                <a:lnTo>
                  <a:pt x="175841" y="110490"/>
                </a:lnTo>
                <a:lnTo>
                  <a:pt x="163377" y="92710"/>
                </a:lnTo>
                <a:lnTo>
                  <a:pt x="144889" y="80010"/>
                </a:lnTo>
                <a:lnTo>
                  <a:pt x="122245" y="74930"/>
                </a:lnTo>
                <a:close/>
              </a:path>
              <a:path w="582295" h="552450">
                <a:moveTo>
                  <a:pt x="413710" y="114300"/>
                </a:moveTo>
                <a:lnTo>
                  <a:pt x="343860" y="114300"/>
                </a:lnTo>
                <a:lnTo>
                  <a:pt x="332843" y="116840"/>
                </a:lnTo>
                <a:lnTo>
                  <a:pt x="324016" y="121920"/>
                </a:lnTo>
                <a:lnTo>
                  <a:pt x="312285" y="129540"/>
                </a:lnTo>
                <a:lnTo>
                  <a:pt x="292552" y="138430"/>
                </a:lnTo>
                <a:lnTo>
                  <a:pt x="449209" y="138430"/>
                </a:lnTo>
                <a:lnTo>
                  <a:pt x="445543" y="134620"/>
                </a:lnTo>
                <a:lnTo>
                  <a:pt x="431363" y="121920"/>
                </a:lnTo>
                <a:lnTo>
                  <a:pt x="426156" y="118110"/>
                </a:lnTo>
                <a:lnTo>
                  <a:pt x="420187" y="115570"/>
                </a:lnTo>
                <a:lnTo>
                  <a:pt x="413710" y="114300"/>
                </a:lnTo>
                <a:close/>
              </a:path>
              <a:path w="582295" h="552450">
                <a:moveTo>
                  <a:pt x="356941" y="38100"/>
                </a:moveTo>
                <a:lnTo>
                  <a:pt x="323540" y="38100"/>
                </a:lnTo>
                <a:lnTo>
                  <a:pt x="322016" y="43180"/>
                </a:lnTo>
                <a:lnTo>
                  <a:pt x="321127" y="48260"/>
                </a:lnTo>
                <a:lnTo>
                  <a:pt x="321127" y="53340"/>
                </a:lnTo>
                <a:lnTo>
                  <a:pt x="325435" y="76200"/>
                </a:lnTo>
                <a:lnTo>
                  <a:pt x="337208" y="93980"/>
                </a:lnTo>
                <a:lnTo>
                  <a:pt x="354720" y="106680"/>
                </a:lnTo>
                <a:lnTo>
                  <a:pt x="376245" y="110490"/>
                </a:lnTo>
                <a:lnTo>
                  <a:pt x="398103" y="106680"/>
                </a:lnTo>
                <a:lnTo>
                  <a:pt x="415853" y="93980"/>
                </a:lnTo>
                <a:lnTo>
                  <a:pt x="427769" y="76200"/>
                </a:lnTo>
                <a:lnTo>
                  <a:pt x="432125" y="54610"/>
                </a:lnTo>
                <a:lnTo>
                  <a:pt x="432125" y="50800"/>
                </a:lnTo>
                <a:lnTo>
                  <a:pt x="367990" y="50800"/>
                </a:lnTo>
                <a:lnTo>
                  <a:pt x="360497" y="45720"/>
                </a:lnTo>
                <a:lnTo>
                  <a:pt x="356941" y="38100"/>
                </a:lnTo>
                <a:close/>
              </a:path>
              <a:path w="582295" h="552450">
                <a:moveTo>
                  <a:pt x="196921" y="54610"/>
                </a:moveTo>
                <a:lnTo>
                  <a:pt x="191206" y="55880"/>
                </a:lnTo>
                <a:lnTo>
                  <a:pt x="185618" y="58420"/>
                </a:lnTo>
                <a:lnTo>
                  <a:pt x="182316" y="63500"/>
                </a:lnTo>
                <a:lnTo>
                  <a:pt x="183840" y="69850"/>
                </a:lnTo>
                <a:lnTo>
                  <a:pt x="185364" y="74930"/>
                </a:lnTo>
                <a:lnTo>
                  <a:pt x="191333" y="78740"/>
                </a:lnTo>
                <a:lnTo>
                  <a:pt x="197048" y="77470"/>
                </a:lnTo>
                <a:lnTo>
                  <a:pt x="198699" y="77470"/>
                </a:lnTo>
                <a:lnTo>
                  <a:pt x="200223" y="76200"/>
                </a:lnTo>
                <a:lnTo>
                  <a:pt x="201366" y="74930"/>
                </a:lnTo>
                <a:lnTo>
                  <a:pt x="192222" y="74930"/>
                </a:lnTo>
                <a:lnTo>
                  <a:pt x="188412" y="72390"/>
                </a:lnTo>
                <a:lnTo>
                  <a:pt x="186380" y="64770"/>
                </a:lnTo>
                <a:lnTo>
                  <a:pt x="188539" y="60960"/>
                </a:lnTo>
                <a:lnTo>
                  <a:pt x="192222" y="59690"/>
                </a:lnTo>
                <a:lnTo>
                  <a:pt x="196032" y="58420"/>
                </a:lnTo>
                <a:lnTo>
                  <a:pt x="202890" y="58420"/>
                </a:lnTo>
                <a:lnTo>
                  <a:pt x="196921" y="54610"/>
                </a:lnTo>
                <a:close/>
              </a:path>
              <a:path w="582295" h="552450">
                <a:moveTo>
                  <a:pt x="202890" y="58420"/>
                </a:moveTo>
                <a:lnTo>
                  <a:pt x="196032" y="58420"/>
                </a:lnTo>
                <a:lnTo>
                  <a:pt x="199842" y="60960"/>
                </a:lnTo>
                <a:lnTo>
                  <a:pt x="201874" y="68580"/>
                </a:lnTo>
                <a:lnTo>
                  <a:pt x="199715" y="72390"/>
                </a:lnTo>
                <a:lnTo>
                  <a:pt x="196032" y="73660"/>
                </a:lnTo>
                <a:lnTo>
                  <a:pt x="192222" y="74930"/>
                </a:lnTo>
                <a:lnTo>
                  <a:pt x="214447" y="74930"/>
                </a:lnTo>
                <a:lnTo>
                  <a:pt x="206065" y="69850"/>
                </a:lnTo>
                <a:lnTo>
                  <a:pt x="205684" y="69850"/>
                </a:lnTo>
                <a:lnTo>
                  <a:pt x="205049" y="68580"/>
                </a:lnTo>
                <a:lnTo>
                  <a:pt x="204541" y="68580"/>
                </a:lnTo>
                <a:lnTo>
                  <a:pt x="204922" y="67310"/>
                </a:lnTo>
                <a:lnTo>
                  <a:pt x="204922" y="66040"/>
                </a:lnTo>
                <a:lnTo>
                  <a:pt x="204414" y="63500"/>
                </a:lnTo>
                <a:lnTo>
                  <a:pt x="202890" y="58420"/>
                </a:lnTo>
                <a:close/>
              </a:path>
              <a:path w="582295" h="552450">
                <a:moveTo>
                  <a:pt x="196667" y="64770"/>
                </a:moveTo>
                <a:lnTo>
                  <a:pt x="195016" y="66040"/>
                </a:lnTo>
                <a:lnTo>
                  <a:pt x="193238" y="66040"/>
                </a:lnTo>
                <a:lnTo>
                  <a:pt x="192222" y="67310"/>
                </a:lnTo>
                <a:lnTo>
                  <a:pt x="192730" y="69850"/>
                </a:lnTo>
                <a:lnTo>
                  <a:pt x="193238" y="71120"/>
                </a:lnTo>
                <a:lnTo>
                  <a:pt x="195016" y="72390"/>
                </a:lnTo>
                <a:lnTo>
                  <a:pt x="198318" y="71120"/>
                </a:lnTo>
                <a:lnTo>
                  <a:pt x="199334" y="69850"/>
                </a:lnTo>
                <a:lnTo>
                  <a:pt x="198826" y="67310"/>
                </a:lnTo>
                <a:lnTo>
                  <a:pt x="198445" y="66040"/>
                </a:lnTo>
                <a:lnTo>
                  <a:pt x="196667" y="64770"/>
                </a:lnTo>
                <a:close/>
              </a:path>
              <a:path w="582295" h="552450">
                <a:moveTo>
                  <a:pt x="396565" y="36830"/>
                </a:moveTo>
                <a:lnTo>
                  <a:pt x="393009" y="44450"/>
                </a:lnTo>
                <a:lnTo>
                  <a:pt x="385516" y="50800"/>
                </a:lnTo>
                <a:lnTo>
                  <a:pt x="432125" y="50800"/>
                </a:lnTo>
                <a:lnTo>
                  <a:pt x="432125" y="48260"/>
                </a:lnTo>
                <a:lnTo>
                  <a:pt x="431236" y="43180"/>
                </a:lnTo>
                <a:lnTo>
                  <a:pt x="429585" y="38100"/>
                </a:lnTo>
                <a:lnTo>
                  <a:pt x="396565" y="38100"/>
                </a:lnTo>
                <a:lnTo>
                  <a:pt x="396565" y="36830"/>
                </a:lnTo>
                <a:close/>
              </a:path>
              <a:path w="582295" h="552450">
                <a:moveTo>
                  <a:pt x="382087" y="19050"/>
                </a:moveTo>
                <a:lnTo>
                  <a:pt x="371419" y="19050"/>
                </a:lnTo>
                <a:lnTo>
                  <a:pt x="367101" y="22860"/>
                </a:lnTo>
                <a:lnTo>
                  <a:pt x="367101" y="34290"/>
                </a:lnTo>
                <a:lnTo>
                  <a:pt x="371419" y="38100"/>
                </a:lnTo>
                <a:lnTo>
                  <a:pt x="382087" y="38100"/>
                </a:lnTo>
                <a:lnTo>
                  <a:pt x="386278" y="34290"/>
                </a:lnTo>
                <a:lnTo>
                  <a:pt x="386278" y="22860"/>
                </a:lnTo>
                <a:lnTo>
                  <a:pt x="382087" y="19050"/>
                </a:lnTo>
                <a:close/>
              </a:path>
              <a:path w="582295" h="552450">
                <a:moveTo>
                  <a:pt x="374721" y="0"/>
                </a:moveTo>
                <a:lnTo>
                  <a:pt x="361545" y="1270"/>
                </a:lnTo>
                <a:lnTo>
                  <a:pt x="349511" y="6350"/>
                </a:lnTo>
                <a:lnTo>
                  <a:pt x="339002" y="13970"/>
                </a:lnTo>
                <a:lnTo>
                  <a:pt x="330398" y="22860"/>
                </a:lnTo>
                <a:lnTo>
                  <a:pt x="354020" y="22860"/>
                </a:lnTo>
                <a:lnTo>
                  <a:pt x="357151" y="16510"/>
                </a:lnTo>
                <a:lnTo>
                  <a:pt x="361926" y="11430"/>
                </a:lnTo>
                <a:lnTo>
                  <a:pt x="367986" y="8890"/>
                </a:lnTo>
                <a:lnTo>
                  <a:pt x="374975" y="7620"/>
                </a:lnTo>
                <a:lnTo>
                  <a:pt x="402002" y="7620"/>
                </a:lnTo>
                <a:lnTo>
                  <a:pt x="400232" y="6350"/>
                </a:lnTo>
                <a:lnTo>
                  <a:pt x="388066" y="1270"/>
                </a:lnTo>
                <a:lnTo>
                  <a:pt x="374721" y="0"/>
                </a:lnTo>
                <a:close/>
              </a:path>
              <a:path w="582295" h="552450">
                <a:moveTo>
                  <a:pt x="402002" y="7620"/>
                </a:moveTo>
                <a:lnTo>
                  <a:pt x="374975" y="7620"/>
                </a:lnTo>
                <a:lnTo>
                  <a:pt x="381964" y="8890"/>
                </a:lnTo>
                <a:lnTo>
                  <a:pt x="388024" y="11430"/>
                </a:lnTo>
                <a:lnTo>
                  <a:pt x="392799" y="16510"/>
                </a:lnTo>
                <a:lnTo>
                  <a:pt x="395930" y="22860"/>
                </a:lnTo>
                <a:lnTo>
                  <a:pt x="419552" y="22860"/>
                </a:lnTo>
                <a:lnTo>
                  <a:pt x="410850" y="13970"/>
                </a:lnTo>
                <a:lnTo>
                  <a:pt x="402002" y="7620"/>
                </a:lnTo>
                <a:close/>
              </a:path>
            </a:pathLst>
          </a:custGeom>
          <a:solidFill>
            <a:srgbClr val="EC7C3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68" name="object 129">
            <a:extLst>
              <a:ext uri="{FF2B5EF4-FFF2-40B4-BE49-F238E27FC236}">
                <a16:creationId xmlns:a16="http://schemas.microsoft.com/office/drawing/2014/main" id="{EE6243B7-9BF3-426E-A6BB-B1E83C64BBD6}"/>
              </a:ext>
            </a:extLst>
          </p:cNvPr>
          <p:cNvSpPr txBox="1"/>
          <p:nvPr/>
        </p:nvSpPr>
        <p:spPr>
          <a:xfrm>
            <a:off x="7763216" y="2528094"/>
            <a:ext cx="2878823" cy="29046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b="1" dirty="0">
                <a:latin typeface="Arial"/>
                <a:ea typeface="+mj-ea"/>
                <a:cs typeface="Arial"/>
              </a:rPr>
              <a:t>Health Check-up</a:t>
            </a:r>
            <a:endParaRPr b="1" dirty="0">
              <a:latin typeface="Arial"/>
              <a:ea typeface="+mj-ea"/>
              <a:cs typeface="Arial"/>
            </a:endParaRPr>
          </a:p>
        </p:txBody>
      </p:sp>
      <p:sp>
        <p:nvSpPr>
          <p:cNvPr id="169" name="object 129">
            <a:extLst>
              <a:ext uri="{FF2B5EF4-FFF2-40B4-BE49-F238E27FC236}">
                <a16:creationId xmlns:a16="http://schemas.microsoft.com/office/drawing/2014/main" id="{79B32F31-4069-4ECF-99D4-AF48841F4016}"/>
              </a:ext>
            </a:extLst>
          </p:cNvPr>
          <p:cNvSpPr txBox="1"/>
          <p:nvPr/>
        </p:nvSpPr>
        <p:spPr>
          <a:xfrm>
            <a:off x="7848091" y="3489031"/>
            <a:ext cx="2878823" cy="29046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b="1" dirty="0">
                <a:latin typeface="Arial"/>
                <a:ea typeface="+mj-ea"/>
                <a:cs typeface="Arial"/>
              </a:rPr>
              <a:t>Hospital Referral</a:t>
            </a:r>
            <a:endParaRPr b="1" dirty="0">
              <a:latin typeface="Arial"/>
              <a:ea typeface="+mj-ea"/>
              <a:cs typeface="Arial"/>
            </a:endParaRP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AF3E68F4-2B5F-4A70-B97B-44BE67E7404C}"/>
              </a:ext>
            </a:extLst>
          </p:cNvPr>
          <p:cNvSpPr/>
          <p:nvPr/>
        </p:nvSpPr>
        <p:spPr>
          <a:xfrm>
            <a:off x="6818208" y="4193626"/>
            <a:ext cx="466618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74955" indent="-182880">
              <a:lnSpc>
                <a:spcPct val="100000"/>
              </a:lnSpc>
              <a:spcBef>
                <a:spcPts val="600"/>
              </a:spcBef>
              <a:buClr>
                <a:srgbClr val="EC7C30"/>
              </a:buClr>
              <a:buFont typeface="Wingdings"/>
              <a:buChar char=""/>
              <a:tabLst>
                <a:tab pos="275590" algn="l"/>
              </a:tabLst>
            </a:pPr>
            <a:r>
              <a:rPr lang="en-US" spc="-5" dirty="0">
                <a:latin typeface="Arial"/>
                <a:cs typeface="Arial"/>
              </a:rPr>
              <a:t>Fee </a:t>
            </a:r>
            <a:r>
              <a:rPr lang="en-US" dirty="0">
                <a:latin typeface="Arial"/>
                <a:cs typeface="Arial"/>
              </a:rPr>
              <a:t>from </a:t>
            </a:r>
            <a:r>
              <a:rPr lang="en-US" spc="-5" dirty="0">
                <a:latin typeface="Arial"/>
                <a:cs typeface="Arial"/>
              </a:rPr>
              <a:t>value-added </a:t>
            </a:r>
            <a:r>
              <a:rPr lang="en-US" dirty="0">
                <a:latin typeface="Arial"/>
                <a:cs typeface="Arial"/>
              </a:rPr>
              <a:t>packages and membership</a:t>
            </a:r>
            <a:r>
              <a:rPr lang="en-US" spc="-180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plans</a:t>
            </a:r>
          </a:p>
        </p:txBody>
      </p:sp>
      <p:sp>
        <p:nvSpPr>
          <p:cNvPr id="171" name="object 58">
            <a:extLst>
              <a:ext uri="{FF2B5EF4-FFF2-40B4-BE49-F238E27FC236}">
                <a16:creationId xmlns:a16="http://schemas.microsoft.com/office/drawing/2014/main" id="{42285271-08F7-4E11-AB1B-BBA1B9D8EFAC}"/>
              </a:ext>
            </a:extLst>
          </p:cNvPr>
          <p:cNvSpPr/>
          <p:nvPr/>
        </p:nvSpPr>
        <p:spPr>
          <a:xfrm>
            <a:off x="7086600" y="3753036"/>
            <a:ext cx="650875" cy="0"/>
          </a:xfrm>
          <a:custGeom>
            <a:avLst/>
            <a:gdLst/>
            <a:ahLst/>
            <a:cxnLst/>
            <a:rect l="l" t="t" r="r" b="b"/>
            <a:pathLst>
              <a:path w="650875">
                <a:moveTo>
                  <a:pt x="0" y="0"/>
                </a:moveTo>
                <a:lnTo>
                  <a:pt x="650748" y="0"/>
                </a:lnTo>
              </a:path>
            </a:pathLst>
          </a:custGeom>
          <a:ln w="20320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2" name="object 59">
            <a:extLst>
              <a:ext uri="{FF2B5EF4-FFF2-40B4-BE49-F238E27FC236}">
                <a16:creationId xmlns:a16="http://schemas.microsoft.com/office/drawing/2014/main" id="{D28C58D1-450B-4D2D-A97F-38244B285911}"/>
              </a:ext>
            </a:extLst>
          </p:cNvPr>
          <p:cNvSpPr/>
          <p:nvPr/>
        </p:nvSpPr>
        <p:spPr>
          <a:xfrm>
            <a:off x="7086600" y="3733351"/>
            <a:ext cx="190500" cy="0"/>
          </a:xfrm>
          <a:custGeom>
            <a:avLst/>
            <a:gdLst/>
            <a:ahLst/>
            <a:cxnLst/>
            <a:rect l="l" t="t" r="r" b="b"/>
            <a:pathLst>
              <a:path w="190500">
                <a:moveTo>
                  <a:pt x="0" y="0"/>
                </a:moveTo>
                <a:lnTo>
                  <a:pt x="190500" y="0"/>
                </a:lnTo>
              </a:path>
            </a:pathLst>
          </a:custGeom>
          <a:ln w="19050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3" name="object 60">
            <a:extLst>
              <a:ext uri="{FF2B5EF4-FFF2-40B4-BE49-F238E27FC236}">
                <a16:creationId xmlns:a16="http://schemas.microsoft.com/office/drawing/2014/main" id="{F9B1B00E-856F-4A08-8000-FC55108C54AD}"/>
              </a:ext>
            </a:extLst>
          </p:cNvPr>
          <p:cNvSpPr/>
          <p:nvPr/>
        </p:nvSpPr>
        <p:spPr>
          <a:xfrm>
            <a:off x="7086600" y="3693346"/>
            <a:ext cx="12700" cy="30480"/>
          </a:xfrm>
          <a:custGeom>
            <a:avLst/>
            <a:gdLst/>
            <a:ahLst/>
            <a:cxnLst/>
            <a:rect l="l" t="t" r="r" b="b"/>
            <a:pathLst>
              <a:path w="12700" h="30479">
                <a:moveTo>
                  <a:pt x="0" y="30480"/>
                </a:moveTo>
                <a:lnTo>
                  <a:pt x="12319" y="30480"/>
                </a:lnTo>
                <a:lnTo>
                  <a:pt x="12319" y="0"/>
                </a:lnTo>
                <a:lnTo>
                  <a:pt x="0" y="0"/>
                </a:lnTo>
                <a:lnTo>
                  <a:pt x="0" y="3048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4" name="object 61">
            <a:extLst>
              <a:ext uri="{FF2B5EF4-FFF2-40B4-BE49-F238E27FC236}">
                <a16:creationId xmlns:a16="http://schemas.microsoft.com/office/drawing/2014/main" id="{67DDC23D-9340-4013-B193-08FDCECAA389}"/>
              </a:ext>
            </a:extLst>
          </p:cNvPr>
          <p:cNvSpPr/>
          <p:nvPr/>
        </p:nvSpPr>
        <p:spPr>
          <a:xfrm>
            <a:off x="7086600" y="3690171"/>
            <a:ext cx="190500" cy="0"/>
          </a:xfrm>
          <a:custGeom>
            <a:avLst/>
            <a:gdLst/>
            <a:ahLst/>
            <a:cxnLst/>
            <a:rect l="l" t="t" r="r" b="b"/>
            <a:pathLst>
              <a:path w="190500">
                <a:moveTo>
                  <a:pt x="0" y="0"/>
                </a:moveTo>
                <a:lnTo>
                  <a:pt x="190500" y="0"/>
                </a:lnTo>
              </a:path>
            </a:pathLst>
          </a:custGeom>
          <a:ln w="6350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5" name="object 62">
            <a:extLst>
              <a:ext uri="{FF2B5EF4-FFF2-40B4-BE49-F238E27FC236}">
                <a16:creationId xmlns:a16="http://schemas.microsoft.com/office/drawing/2014/main" id="{584D9F10-1FC3-4445-99A5-DDEDDD55E5F4}"/>
              </a:ext>
            </a:extLst>
          </p:cNvPr>
          <p:cNvSpPr/>
          <p:nvPr/>
        </p:nvSpPr>
        <p:spPr>
          <a:xfrm>
            <a:off x="7086600" y="3656517"/>
            <a:ext cx="12700" cy="30480"/>
          </a:xfrm>
          <a:custGeom>
            <a:avLst/>
            <a:gdLst/>
            <a:ahLst/>
            <a:cxnLst/>
            <a:rect l="l" t="t" r="r" b="b"/>
            <a:pathLst>
              <a:path w="12700" h="30479">
                <a:moveTo>
                  <a:pt x="0" y="30479"/>
                </a:moveTo>
                <a:lnTo>
                  <a:pt x="12319" y="30479"/>
                </a:lnTo>
                <a:lnTo>
                  <a:pt x="12319" y="0"/>
                </a:lnTo>
                <a:lnTo>
                  <a:pt x="0" y="0"/>
                </a:lnTo>
                <a:lnTo>
                  <a:pt x="0" y="30479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6" name="object 63">
            <a:extLst>
              <a:ext uri="{FF2B5EF4-FFF2-40B4-BE49-F238E27FC236}">
                <a16:creationId xmlns:a16="http://schemas.microsoft.com/office/drawing/2014/main" id="{8F359520-E3B6-40CB-B7A1-66BB1EC9E8FD}"/>
              </a:ext>
            </a:extLst>
          </p:cNvPr>
          <p:cNvSpPr/>
          <p:nvPr/>
        </p:nvSpPr>
        <p:spPr>
          <a:xfrm>
            <a:off x="7086600" y="3633657"/>
            <a:ext cx="190500" cy="0"/>
          </a:xfrm>
          <a:custGeom>
            <a:avLst/>
            <a:gdLst/>
            <a:ahLst/>
            <a:cxnLst/>
            <a:rect l="l" t="t" r="r" b="b"/>
            <a:pathLst>
              <a:path w="190500">
                <a:moveTo>
                  <a:pt x="0" y="0"/>
                </a:moveTo>
                <a:lnTo>
                  <a:pt x="190500" y="0"/>
                </a:lnTo>
              </a:path>
            </a:pathLst>
          </a:custGeom>
          <a:ln w="45720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7" name="object 64">
            <a:extLst>
              <a:ext uri="{FF2B5EF4-FFF2-40B4-BE49-F238E27FC236}">
                <a16:creationId xmlns:a16="http://schemas.microsoft.com/office/drawing/2014/main" id="{01DD0B87-49D4-43D0-A916-26BB3628794F}"/>
              </a:ext>
            </a:extLst>
          </p:cNvPr>
          <p:cNvSpPr/>
          <p:nvPr/>
        </p:nvSpPr>
        <p:spPr>
          <a:xfrm>
            <a:off x="7086600" y="3575871"/>
            <a:ext cx="190500" cy="0"/>
          </a:xfrm>
          <a:custGeom>
            <a:avLst/>
            <a:gdLst/>
            <a:ahLst/>
            <a:cxnLst/>
            <a:rect l="l" t="t" r="r" b="b"/>
            <a:pathLst>
              <a:path w="190500">
                <a:moveTo>
                  <a:pt x="0" y="0"/>
                </a:moveTo>
                <a:lnTo>
                  <a:pt x="190500" y="0"/>
                </a:lnTo>
              </a:path>
            </a:pathLst>
          </a:custGeom>
          <a:ln w="3809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8" name="object 65">
            <a:extLst>
              <a:ext uri="{FF2B5EF4-FFF2-40B4-BE49-F238E27FC236}">
                <a16:creationId xmlns:a16="http://schemas.microsoft.com/office/drawing/2014/main" id="{65F82BD6-910E-4C15-9EB7-7EBFA41E38E2}"/>
              </a:ext>
            </a:extLst>
          </p:cNvPr>
          <p:cNvSpPr/>
          <p:nvPr/>
        </p:nvSpPr>
        <p:spPr>
          <a:xfrm>
            <a:off x="7092759" y="3540946"/>
            <a:ext cx="0" cy="69850"/>
          </a:xfrm>
          <a:custGeom>
            <a:avLst/>
            <a:gdLst/>
            <a:ahLst/>
            <a:cxnLst/>
            <a:rect l="l" t="t" r="r" b="b"/>
            <a:pathLst>
              <a:path h="69850">
                <a:moveTo>
                  <a:pt x="0" y="69850"/>
                </a:moveTo>
                <a:lnTo>
                  <a:pt x="0" y="0"/>
                </a:lnTo>
                <a:lnTo>
                  <a:pt x="0" y="6985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9" name="object 66">
            <a:extLst>
              <a:ext uri="{FF2B5EF4-FFF2-40B4-BE49-F238E27FC236}">
                <a16:creationId xmlns:a16="http://schemas.microsoft.com/office/drawing/2014/main" id="{F47A1E4B-07BC-437F-875A-64697AFA476F}"/>
              </a:ext>
            </a:extLst>
          </p:cNvPr>
          <p:cNvSpPr/>
          <p:nvPr/>
        </p:nvSpPr>
        <p:spPr>
          <a:xfrm>
            <a:off x="7086600" y="3514276"/>
            <a:ext cx="190500" cy="0"/>
          </a:xfrm>
          <a:custGeom>
            <a:avLst/>
            <a:gdLst/>
            <a:ahLst/>
            <a:cxnLst/>
            <a:rect l="l" t="t" r="r" b="b"/>
            <a:pathLst>
              <a:path w="190500">
                <a:moveTo>
                  <a:pt x="0" y="0"/>
                </a:moveTo>
                <a:lnTo>
                  <a:pt x="190500" y="0"/>
                </a:lnTo>
              </a:path>
            </a:pathLst>
          </a:custGeom>
          <a:ln w="53340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0" name="object 67">
            <a:extLst>
              <a:ext uri="{FF2B5EF4-FFF2-40B4-BE49-F238E27FC236}">
                <a16:creationId xmlns:a16="http://schemas.microsoft.com/office/drawing/2014/main" id="{F3A7CBD4-F049-4E1F-9BBB-C2DBC6BB4536}"/>
              </a:ext>
            </a:extLst>
          </p:cNvPr>
          <p:cNvSpPr/>
          <p:nvPr/>
        </p:nvSpPr>
        <p:spPr>
          <a:xfrm>
            <a:off x="7314945" y="3652707"/>
            <a:ext cx="0" cy="90170"/>
          </a:xfrm>
          <a:custGeom>
            <a:avLst/>
            <a:gdLst/>
            <a:ahLst/>
            <a:cxnLst/>
            <a:rect l="l" t="t" r="r" b="b"/>
            <a:pathLst>
              <a:path h="90170">
                <a:moveTo>
                  <a:pt x="0" y="0"/>
                </a:moveTo>
                <a:lnTo>
                  <a:pt x="0" y="90170"/>
                </a:lnTo>
              </a:path>
            </a:pathLst>
          </a:custGeom>
          <a:ln w="58165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1" name="object 68">
            <a:extLst>
              <a:ext uri="{FF2B5EF4-FFF2-40B4-BE49-F238E27FC236}">
                <a16:creationId xmlns:a16="http://schemas.microsoft.com/office/drawing/2014/main" id="{AE02F72D-2A99-4A14-BECE-D25BB40194DA}"/>
              </a:ext>
            </a:extLst>
          </p:cNvPr>
          <p:cNvSpPr/>
          <p:nvPr/>
        </p:nvSpPr>
        <p:spPr>
          <a:xfrm>
            <a:off x="7285863" y="3631751"/>
            <a:ext cx="252729" cy="0"/>
          </a:xfrm>
          <a:custGeom>
            <a:avLst/>
            <a:gdLst/>
            <a:ahLst/>
            <a:cxnLst/>
            <a:rect l="l" t="t" r="r" b="b"/>
            <a:pathLst>
              <a:path w="252729">
                <a:moveTo>
                  <a:pt x="0" y="0"/>
                </a:moveTo>
                <a:lnTo>
                  <a:pt x="252222" y="0"/>
                </a:lnTo>
              </a:path>
            </a:pathLst>
          </a:custGeom>
          <a:ln w="41909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2" name="object 69">
            <a:extLst>
              <a:ext uri="{FF2B5EF4-FFF2-40B4-BE49-F238E27FC236}">
                <a16:creationId xmlns:a16="http://schemas.microsoft.com/office/drawing/2014/main" id="{BCAAA38A-FC47-4F10-A0E3-5E9A01AC9863}"/>
              </a:ext>
            </a:extLst>
          </p:cNvPr>
          <p:cNvSpPr/>
          <p:nvPr/>
        </p:nvSpPr>
        <p:spPr>
          <a:xfrm>
            <a:off x="7285863" y="3577776"/>
            <a:ext cx="46355" cy="33020"/>
          </a:xfrm>
          <a:custGeom>
            <a:avLst/>
            <a:gdLst/>
            <a:ahLst/>
            <a:cxnLst/>
            <a:rect l="l" t="t" r="r" b="b"/>
            <a:pathLst>
              <a:path w="46354" h="33020">
                <a:moveTo>
                  <a:pt x="0" y="33019"/>
                </a:moveTo>
                <a:lnTo>
                  <a:pt x="45847" y="33019"/>
                </a:lnTo>
                <a:lnTo>
                  <a:pt x="45847" y="0"/>
                </a:lnTo>
                <a:lnTo>
                  <a:pt x="0" y="0"/>
                </a:lnTo>
                <a:lnTo>
                  <a:pt x="0" y="33019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3" name="object 70">
            <a:extLst>
              <a:ext uri="{FF2B5EF4-FFF2-40B4-BE49-F238E27FC236}">
                <a16:creationId xmlns:a16="http://schemas.microsoft.com/office/drawing/2014/main" id="{DD85E9E6-9784-4402-8EA4-2CBE11858D09}"/>
              </a:ext>
            </a:extLst>
          </p:cNvPr>
          <p:cNvSpPr/>
          <p:nvPr/>
        </p:nvSpPr>
        <p:spPr>
          <a:xfrm>
            <a:off x="7285863" y="3575871"/>
            <a:ext cx="252729" cy="0"/>
          </a:xfrm>
          <a:custGeom>
            <a:avLst/>
            <a:gdLst/>
            <a:ahLst/>
            <a:cxnLst/>
            <a:rect l="l" t="t" r="r" b="b"/>
            <a:pathLst>
              <a:path w="252729">
                <a:moveTo>
                  <a:pt x="0" y="0"/>
                </a:moveTo>
                <a:lnTo>
                  <a:pt x="252222" y="0"/>
                </a:lnTo>
              </a:path>
            </a:pathLst>
          </a:custGeom>
          <a:ln w="3809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4" name="object 71">
            <a:extLst>
              <a:ext uri="{FF2B5EF4-FFF2-40B4-BE49-F238E27FC236}">
                <a16:creationId xmlns:a16="http://schemas.microsoft.com/office/drawing/2014/main" id="{253D10F2-2101-44B6-A7AD-CF2D6890857B}"/>
              </a:ext>
            </a:extLst>
          </p:cNvPr>
          <p:cNvSpPr/>
          <p:nvPr/>
        </p:nvSpPr>
        <p:spPr>
          <a:xfrm>
            <a:off x="7285863" y="3540946"/>
            <a:ext cx="46355" cy="33020"/>
          </a:xfrm>
          <a:custGeom>
            <a:avLst/>
            <a:gdLst/>
            <a:ahLst/>
            <a:cxnLst/>
            <a:rect l="l" t="t" r="r" b="b"/>
            <a:pathLst>
              <a:path w="46354" h="33020">
                <a:moveTo>
                  <a:pt x="0" y="33020"/>
                </a:moveTo>
                <a:lnTo>
                  <a:pt x="45847" y="33020"/>
                </a:lnTo>
                <a:lnTo>
                  <a:pt x="45847" y="0"/>
                </a:lnTo>
                <a:lnTo>
                  <a:pt x="0" y="0"/>
                </a:lnTo>
                <a:lnTo>
                  <a:pt x="0" y="3302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5" name="object 72">
            <a:extLst>
              <a:ext uri="{FF2B5EF4-FFF2-40B4-BE49-F238E27FC236}">
                <a16:creationId xmlns:a16="http://schemas.microsoft.com/office/drawing/2014/main" id="{C478A126-0FBB-476F-A97D-37FA64536F88}"/>
              </a:ext>
            </a:extLst>
          </p:cNvPr>
          <p:cNvSpPr/>
          <p:nvPr/>
        </p:nvSpPr>
        <p:spPr>
          <a:xfrm>
            <a:off x="7285863" y="3535232"/>
            <a:ext cx="252729" cy="0"/>
          </a:xfrm>
          <a:custGeom>
            <a:avLst/>
            <a:gdLst/>
            <a:ahLst/>
            <a:cxnLst/>
            <a:rect l="l" t="t" r="r" b="b"/>
            <a:pathLst>
              <a:path w="252729">
                <a:moveTo>
                  <a:pt x="0" y="0"/>
                </a:moveTo>
                <a:lnTo>
                  <a:pt x="252222" y="0"/>
                </a:lnTo>
              </a:path>
            </a:pathLst>
          </a:custGeom>
          <a:ln w="11429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6" name="object 73">
            <a:extLst>
              <a:ext uri="{FF2B5EF4-FFF2-40B4-BE49-F238E27FC236}">
                <a16:creationId xmlns:a16="http://schemas.microsoft.com/office/drawing/2014/main" id="{301A1A68-988A-4615-B5AF-DA826CD391EC}"/>
              </a:ext>
            </a:extLst>
          </p:cNvPr>
          <p:cNvSpPr/>
          <p:nvPr/>
        </p:nvSpPr>
        <p:spPr>
          <a:xfrm>
            <a:off x="7285863" y="3513642"/>
            <a:ext cx="109855" cy="0"/>
          </a:xfrm>
          <a:custGeom>
            <a:avLst/>
            <a:gdLst/>
            <a:ahLst/>
            <a:cxnLst/>
            <a:rect l="l" t="t" r="r" b="b"/>
            <a:pathLst>
              <a:path w="109854">
                <a:moveTo>
                  <a:pt x="0" y="0"/>
                </a:moveTo>
                <a:lnTo>
                  <a:pt x="109347" y="0"/>
                </a:lnTo>
              </a:path>
            </a:pathLst>
          </a:custGeom>
          <a:ln w="31750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7" name="object 74">
            <a:extLst>
              <a:ext uri="{FF2B5EF4-FFF2-40B4-BE49-F238E27FC236}">
                <a16:creationId xmlns:a16="http://schemas.microsoft.com/office/drawing/2014/main" id="{5EFF16B9-0736-4BF8-9072-F27CCE39FDFA}"/>
              </a:ext>
            </a:extLst>
          </p:cNvPr>
          <p:cNvSpPr/>
          <p:nvPr/>
        </p:nvSpPr>
        <p:spPr>
          <a:xfrm>
            <a:off x="7285863" y="3467287"/>
            <a:ext cx="76200" cy="30480"/>
          </a:xfrm>
          <a:custGeom>
            <a:avLst/>
            <a:gdLst/>
            <a:ahLst/>
            <a:cxnLst/>
            <a:rect l="l" t="t" r="r" b="b"/>
            <a:pathLst>
              <a:path w="76200" h="30479">
                <a:moveTo>
                  <a:pt x="0" y="30479"/>
                </a:moveTo>
                <a:lnTo>
                  <a:pt x="75818" y="30479"/>
                </a:lnTo>
                <a:lnTo>
                  <a:pt x="75818" y="0"/>
                </a:lnTo>
                <a:lnTo>
                  <a:pt x="0" y="0"/>
                </a:lnTo>
                <a:lnTo>
                  <a:pt x="0" y="30479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8" name="object 75">
            <a:extLst>
              <a:ext uri="{FF2B5EF4-FFF2-40B4-BE49-F238E27FC236}">
                <a16:creationId xmlns:a16="http://schemas.microsoft.com/office/drawing/2014/main" id="{74D115F6-46A8-47AF-BF42-B05E67CD214B}"/>
              </a:ext>
            </a:extLst>
          </p:cNvPr>
          <p:cNvSpPr/>
          <p:nvPr/>
        </p:nvSpPr>
        <p:spPr>
          <a:xfrm>
            <a:off x="7285863" y="3451412"/>
            <a:ext cx="109855" cy="0"/>
          </a:xfrm>
          <a:custGeom>
            <a:avLst/>
            <a:gdLst/>
            <a:ahLst/>
            <a:cxnLst/>
            <a:rect l="l" t="t" r="r" b="b"/>
            <a:pathLst>
              <a:path w="109854">
                <a:moveTo>
                  <a:pt x="0" y="0"/>
                </a:moveTo>
                <a:lnTo>
                  <a:pt x="109347" y="0"/>
                </a:lnTo>
              </a:path>
            </a:pathLst>
          </a:custGeom>
          <a:ln w="31750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9" name="object 76">
            <a:extLst>
              <a:ext uri="{FF2B5EF4-FFF2-40B4-BE49-F238E27FC236}">
                <a16:creationId xmlns:a16="http://schemas.microsoft.com/office/drawing/2014/main" id="{D2F01B80-7FDD-4166-BE3D-3C7E0F7F3B9C}"/>
              </a:ext>
            </a:extLst>
          </p:cNvPr>
          <p:cNvSpPr/>
          <p:nvPr/>
        </p:nvSpPr>
        <p:spPr>
          <a:xfrm>
            <a:off x="7285863" y="3427917"/>
            <a:ext cx="252729" cy="0"/>
          </a:xfrm>
          <a:custGeom>
            <a:avLst/>
            <a:gdLst/>
            <a:ahLst/>
            <a:cxnLst/>
            <a:rect l="l" t="t" r="r" b="b"/>
            <a:pathLst>
              <a:path w="252729">
                <a:moveTo>
                  <a:pt x="0" y="0"/>
                </a:moveTo>
                <a:lnTo>
                  <a:pt x="252222" y="0"/>
                </a:lnTo>
              </a:path>
            </a:pathLst>
          </a:custGeom>
          <a:ln w="15239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0" name="object 77">
            <a:extLst>
              <a:ext uri="{FF2B5EF4-FFF2-40B4-BE49-F238E27FC236}">
                <a16:creationId xmlns:a16="http://schemas.microsoft.com/office/drawing/2014/main" id="{56808E1A-9490-48CB-84CA-CDA08E393837}"/>
              </a:ext>
            </a:extLst>
          </p:cNvPr>
          <p:cNvSpPr/>
          <p:nvPr/>
        </p:nvSpPr>
        <p:spPr>
          <a:xfrm>
            <a:off x="7411974" y="3652707"/>
            <a:ext cx="0" cy="90805"/>
          </a:xfrm>
          <a:custGeom>
            <a:avLst/>
            <a:gdLst/>
            <a:ahLst/>
            <a:cxnLst/>
            <a:rect l="l" t="t" r="r" b="b"/>
            <a:pathLst>
              <a:path h="90804">
                <a:moveTo>
                  <a:pt x="0" y="0"/>
                </a:moveTo>
                <a:lnTo>
                  <a:pt x="0" y="90576"/>
                </a:lnTo>
              </a:path>
            </a:pathLst>
          </a:custGeom>
          <a:ln w="8890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1" name="object 78">
            <a:extLst>
              <a:ext uri="{FF2B5EF4-FFF2-40B4-BE49-F238E27FC236}">
                <a16:creationId xmlns:a16="http://schemas.microsoft.com/office/drawing/2014/main" id="{97A7E279-7542-4CE4-9842-7405BCF8D349}"/>
              </a:ext>
            </a:extLst>
          </p:cNvPr>
          <p:cNvSpPr/>
          <p:nvPr/>
        </p:nvSpPr>
        <p:spPr>
          <a:xfrm>
            <a:off x="7509890" y="3652707"/>
            <a:ext cx="0" cy="90805"/>
          </a:xfrm>
          <a:custGeom>
            <a:avLst/>
            <a:gdLst/>
            <a:ahLst/>
            <a:cxnLst/>
            <a:rect l="l" t="t" r="r" b="b"/>
            <a:pathLst>
              <a:path h="90804">
                <a:moveTo>
                  <a:pt x="0" y="0"/>
                </a:moveTo>
                <a:lnTo>
                  <a:pt x="0" y="90576"/>
                </a:lnTo>
              </a:path>
            </a:pathLst>
          </a:custGeom>
          <a:ln w="56388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2" name="object 79">
            <a:extLst>
              <a:ext uri="{FF2B5EF4-FFF2-40B4-BE49-F238E27FC236}">
                <a16:creationId xmlns:a16="http://schemas.microsoft.com/office/drawing/2014/main" id="{F8118743-3613-4CB2-86A2-EFA1FFE8E696}"/>
              </a:ext>
            </a:extLst>
          </p:cNvPr>
          <p:cNvSpPr/>
          <p:nvPr/>
        </p:nvSpPr>
        <p:spPr>
          <a:xfrm>
            <a:off x="7548626" y="3733351"/>
            <a:ext cx="189230" cy="0"/>
          </a:xfrm>
          <a:custGeom>
            <a:avLst/>
            <a:gdLst/>
            <a:ahLst/>
            <a:cxnLst/>
            <a:rect l="l" t="t" r="r" b="b"/>
            <a:pathLst>
              <a:path w="189229">
                <a:moveTo>
                  <a:pt x="0" y="0"/>
                </a:moveTo>
                <a:lnTo>
                  <a:pt x="188722" y="0"/>
                </a:lnTo>
              </a:path>
            </a:pathLst>
          </a:custGeom>
          <a:ln w="19050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3" name="object 80">
            <a:extLst>
              <a:ext uri="{FF2B5EF4-FFF2-40B4-BE49-F238E27FC236}">
                <a16:creationId xmlns:a16="http://schemas.microsoft.com/office/drawing/2014/main" id="{A61EDB0D-9896-42F5-9A59-5F7C134E197A}"/>
              </a:ext>
            </a:extLst>
          </p:cNvPr>
          <p:cNvSpPr/>
          <p:nvPr/>
        </p:nvSpPr>
        <p:spPr>
          <a:xfrm>
            <a:off x="7548626" y="3693346"/>
            <a:ext cx="12700" cy="30480"/>
          </a:xfrm>
          <a:custGeom>
            <a:avLst/>
            <a:gdLst/>
            <a:ahLst/>
            <a:cxnLst/>
            <a:rect l="l" t="t" r="r" b="b"/>
            <a:pathLst>
              <a:path w="12700" h="30479">
                <a:moveTo>
                  <a:pt x="0" y="30480"/>
                </a:moveTo>
                <a:lnTo>
                  <a:pt x="12319" y="30480"/>
                </a:lnTo>
                <a:lnTo>
                  <a:pt x="12319" y="0"/>
                </a:lnTo>
                <a:lnTo>
                  <a:pt x="0" y="0"/>
                </a:lnTo>
                <a:lnTo>
                  <a:pt x="0" y="3048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4" name="object 81">
            <a:extLst>
              <a:ext uri="{FF2B5EF4-FFF2-40B4-BE49-F238E27FC236}">
                <a16:creationId xmlns:a16="http://schemas.microsoft.com/office/drawing/2014/main" id="{E536F4E7-7FEB-4F59-B329-A86A30B24CE5}"/>
              </a:ext>
            </a:extLst>
          </p:cNvPr>
          <p:cNvSpPr/>
          <p:nvPr/>
        </p:nvSpPr>
        <p:spPr>
          <a:xfrm>
            <a:off x="7548626" y="3690171"/>
            <a:ext cx="189230" cy="0"/>
          </a:xfrm>
          <a:custGeom>
            <a:avLst/>
            <a:gdLst/>
            <a:ahLst/>
            <a:cxnLst/>
            <a:rect l="l" t="t" r="r" b="b"/>
            <a:pathLst>
              <a:path w="189229">
                <a:moveTo>
                  <a:pt x="0" y="0"/>
                </a:moveTo>
                <a:lnTo>
                  <a:pt x="188722" y="0"/>
                </a:lnTo>
              </a:path>
            </a:pathLst>
          </a:custGeom>
          <a:ln w="6350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5" name="object 82">
            <a:extLst>
              <a:ext uri="{FF2B5EF4-FFF2-40B4-BE49-F238E27FC236}">
                <a16:creationId xmlns:a16="http://schemas.microsoft.com/office/drawing/2014/main" id="{23344095-AE03-4C26-AAA9-6FB4EA32322E}"/>
              </a:ext>
            </a:extLst>
          </p:cNvPr>
          <p:cNvSpPr/>
          <p:nvPr/>
        </p:nvSpPr>
        <p:spPr>
          <a:xfrm>
            <a:off x="7548626" y="3656517"/>
            <a:ext cx="12700" cy="30480"/>
          </a:xfrm>
          <a:custGeom>
            <a:avLst/>
            <a:gdLst/>
            <a:ahLst/>
            <a:cxnLst/>
            <a:rect l="l" t="t" r="r" b="b"/>
            <a:pathLst>
              <a:path w="12700" h="30479">
                <a:moveTo>
                  <a:pt x="0" y="30479"/>
                </a:moveTo>
                <a:lnTo>
                  <a:pt x="12319" y="30479"/>
                </a:lnTo>
                <a:lnTo>
                  <a:pt x="12319" y="0"/>
                </a:lnTo>
                <a:lnTo>
                  <a:pt x="0" y="0"/>
                </a:lnTo>
                <a:lnTo>
                  <a:pt x="0" y="30479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6" name="object 83">
            <a:extLst>
              <a:ext uri="{FF2B5EF4-FFF2-40B4-BE49-F238E27FC236}">
                <a16:creationId xmlns:a16="http://schemas.microsoft.com/office/drawing/2014/main" id="{DE668A84-6F4B-479A-9CAF-EF8E2B9D067B}"/>
              </a:ext>
            </a:extLst>
          </p:cNvPr>
          <p:cNvSpPr/>
          <p:nvPr/>
        </p:nvSpPr>
        <p:spPr>
          <a:xfrm>
            <a:off x="7548626" y="3633657"/>
            <a:ext cx="189230" cy="0"/>
          </a:xfrm>
          <a:custGeom>
            <a:avLst/>
            <a:gdLst/>
            <a:ahLst/>
            <a:cxnLst/>
            <a:rect l="l" t="t" r="r" b="b"/>
            <a:pathLst>
              <a:path w="189229">
                <a:moveTo>
                  <a:pt x="0" y="0"/>
                </a:moveTo>
                <a:lnTo>
                  <a:pt x="188722" y="0"/>
                </a:lnTo>
              </a:path>
            </a:pathLst>
          </a:custGeom>
          <a:ln w="45720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7" name="object 84">
            <a:extLst>
              <a:ext uri="{FF2B5EF4-FFF2-40B4-BE49-F238E27FC236}">
                <a16:creationId xmlns:a16="http://schemas.microsoft.com/office/drawing/2014/main" id="{43458E54-1255-423F-A0A4-91E5306BB4AD}"/>
              </a:ext>
            </a:extLst>
          </p:cNvPr>
          <p:cNvSpPr/>
          <p:nvPr/>
        </p:nvSpPr>
        <p:spPr>
          <a:xfrm>
            <a:off x="7548626" y="3577776"/>
            <a:ext cx="12700" cy="33020"/>
          </a:xfrm>
          <a:custGeom>
            <a:avLst/>
            <a:gdLst/>
            <a:ahLst/>
            <a:cxnLst/>
            <a:rect l="l" t="t" r="r" b="b"/>
            <a:pathLst>
              <a:path w="12700" h="33020">
                <a:moveTo>
                  <a:pt x="0" y="33019"/>
                </a:moveTo>
                <a:lnTo>
                  <a:pt x="12319" y="33019"/>
                </a:lnTo>
                <a:lnTo>
                  <a:pt x="12319" y="0"/>
                </a:lnTo>
                <a:lnTo>
                  <a:pt x="0" y="0"/>
                </a:lnTo>
                <a:lnTo>
                  <a:pt x="0" y="33019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8" name="object 85">
            <a:extLst>
              <a:ext uri="{FF2B5EF4-FFF2-40B4-BE49-F238E27FC236}">
                <a16:creationId xmlns:a16="http://schemas.microsoft.com/office/drawing/2014/main" id="{F6CA187E-61A6-45B9-8F95-526C63077715}"/>
              </a:ext>
            </a:extLst>
          </p:cNvPr>
          <p:cNvSpPr/>
          <p:nvPr/>
        </p:nvSpPr>
        <p:spPr>
          <a:xfrm>
            <a:off x="7548626" y="3575871"/>
            <a:ext cx="189230" cy="0"/>
          </a:xfrm>
          <a:custGeom>
            <a:avLst/>
            <a:gdLst/>
            <a:ahLst/>
            <a:cxnLst/>
            <a:rect l="l" t="t" r="r" b="b"/>
            <a:pathLst>
              <a:path w="189229">
                <a:moveTo>
                  <a:pt x="0" y="0"/>
                </a:moveTo>
                <a:lnTo>
                  <a:pt x="188722" y="0"/>
                </a:lnTo>
              </a:path>
            </a:pathLst>
          </a:custGeom>
          <a:ln w="3809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9" name="object 86">
            <a:extLst>
              <a:ext uri="{FF2B5EF4-FFF2-40B4-BE49-F238E27FC236}">
                <a16:creationId xmlns:a16="http://schemas.microsoft.com/office/drawing/2014/main" id="{999148AC-5A7D-4CC6-AA5D-F277AA7CA87F}"/>
              </a:ext>
            </a:extLst>
          </p:cNvPr>
          <p:cNvSpPr/>
          <p:nvPr/>
        </p:nvSpPr>
        <p:spPr>
          <a:xfrm>
            <a:off x="7548626" y="3540946"/>
            <a:ext cx="12700" cy="33020"/>
          </a:xfrm>
          <a:custGeom>
            <a:avLst/>
            <a:gdLst/>
            <a:ahLst/>
            <a:cxnLst/>
            <a:rect l="l" t="t" r="r" b="b"/>
            <a:pathLst>
              <a:path w="12700" h="33020">
                <a:moveTo>
                  <a:pt x="0" y="33020"/>
                </a:moveTo>
                <a:lnTo>
                  <a:pt x="12319" y="33020"/>
                </a:lnTo>
                <a:lnTo>
                  <a:pt x="12319" y="0"/>
                </a:lnTo>
                <a:lnTo>
                  <a:pt x="0" y="0"/>
                </a:lnTo>
                <a:lnTo>
                  <a:pt x="0" y="3302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0" name="object 87">
            <a:extLst>
              <a:ext uri="{FF2B5EF4-FFF2-40B4-BE49-F238E27FC236}">
                <a16:creationId xmlns:a16="http://schemas.microsoft.com/office/drawing/2014/main" id="{9BCB9DBE-22FD-4704-AA0A-3127504C5603}"/>
              </a:ext>
            </a:extLst>
          </p:cNvPr>
          <p:cNvSpPr/>
          <p:nvPr/>
        </p:nvSpPr>
        <p:spPr>
          <a:xfrm>
            <a:off x="7548626" y="3514276"/>
            <a:ext cx="189230" cy="0"/>
          </a:xfrm>
          <a:custGeom>
            <a:avLst/>
            <a:gdLst/>
            <a:ahLst/>
            <a:cxnLst/>
            <a:rect l="l" t="t" r="r" b="b"/>
            <a:pathLst>
              <a:path w="189229">
                <a:moveTo>
                  <a:pt x="0" y="0"/>
                </a:moveTo>
                <a:lnTo>
                  <a:pt x="188722" y="0"/>
                </a:lnTo>
              </a:path>
            </a:pathLst>
          </a:custGeom>
          <a:ln w="53340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1" name="object 88">
            <a:extLst>
              <a:ext uri="{FF2B5EF4-FFF2-40B4-BE49-F238E27FC236}">
                <a16:creationId xmlns:a16="http://schemas.microsoft.com/office/drawing/2014/main" id="{8494A641-95DF-45AD-9672-EBA462591E13}"/>
              </a:ext>
            </a:extLst>
          </p:cNvPr>
          <p:cNvSpPr/>
          <p:nvPr/>
        </p:nvSpPr>
        <p:spPr>
          <a:xfrm>
            <a:off x="7134225" y="3693143"/>
            <a:ext cx="8890" cy="31115"/>
          </a:xfrm>
          <a:custGeom>
            <a:avLst/>
            <a:gdLst/>
            <a:ahLst/>
            <a:cxnLst/>
            <a:rect l="l" t="t" r="r" b="b"/>
            <a:pathLst>
              <a:path w="8890" h="31115">
                <a:moveTo>
                  <a:pt x="8763" y="0"/>
                </a:moveTo>
                <a:lnTo>
                  <a:pt x="0" y="0"/>
                </a:lnTo>
                <a:lnTo>
                  <a:pt x="0" y="30721"/>
                </a:lnTo>
                <a:lnTo>
                  <a:pt x="8763" y="30721"/>
                </a:lnTo>
                <a:lnTo>
                  <a:pt x="8763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2" name="object 89">
            <a:extLst>
              <a:ext uri="{FF2B5EF4-FFF2-40B4-BE49-F238E27FC236}">
                <a16:creationId xmlns:a16="http://schemas.microsoft.com/office/drawing/2014/main" id="{4000DBE9-D966-44A0-BEF5-A5AEAEFC72AF}"/>
              </a:ext>
            </a:extLst>
          </p:cNvPr>
          <p:cNvSpPr/>
          <p:nvPr/>
        </p:nvSpPr>
        <p:spPr>
          <a:xfrm>
            <a:off x="7176515" y="3693143"/>
            <a:ext cx="10795" cy="31115"/>
          </a:xfrm>
          <a:custGeom>
            <a:avLst/>
            <a:gdLst/>
            <a:ahLst/>
            <a:cxnLst/>
            <a:rect l="l" t="t" r="r" b="b"/>
            <a:pathLst>
              <a:path w="10795" h="31115">
                <a:moveTo>
                  <a:pt x="10667" y="0"/>
                </a:moveTo>
                <a:lnTo>
                  <a:pt x="0" y="0"/>
                </a:lnTo>
                <a:lnTo>
                  <a:pt x="0" y="30721"/>
                </a:lnTo>
                <a:lnTo>
                  <a:pt x="10667" y="30721"/>
                </a:lnTo>
                <a:lnTo>
                  <a:pt x="10667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3" name="object 90">
            <a:extLst>
              <a:ext uri="{FF2B5EF4-FFF2-40B4-BE49-F238E27FC236}">
                <a16:creationId xmlns:a16="http://schemas.microsoft.com/office/drawing/2014/main" id="{6A95CBA9-3327-455A-BC65-0A904D2ED4D3}"/>
              </a:ext>
            </a:extLst>
          </p:cNvPr>
          <p:cNvSpPr/>
          <p:nvPr/>
        </p:nvSpPr>
        <p:spPr>
          <a:xfrm>
            <a:off x="7222363" y="3693143"/>
            <a:ext cx="8890" cy="31115"/>
          </a:xfrm>
          <a:custGeom>
            <a:avLst/>
            <a:gdLst/>
            <a:ahLst/>
            <a:cxnLst/>
            <a:rect l="l" t="t" r="r" b="b"/>
            <a:pathLst>
              <a:path w="8890" h="31115">
                <a:moveTo>
                  <a:pt x="8889" y="0"/>
                </a:moveTo>
                <a:lnTo>
                  <a:pt x="0" y="0"/>
                </a:lnTo>
                <a:lnTo>
                  <a:pt x="0" y="30721"/>
                </a:lnTo>
                <a:lnTo>
                  <a:pt x="8889" y="30721"/>
                </a:lnTo>
                <a:lnTo>
                  <a:pt x="8889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4" name="object 91">
            <a:extLst>
              <a:ext uri="{FF2B5EF4-FFF2-40B4-BE49-F238E27FC236}">
                <a16:creationId xmlns:a16="http://schemas.microsoft.com/office/drawing/2014/main" id="{6CA9EB5C-2E93-4688-A669-5EF3E202358B}"/>
              </a:ext>
            </a:extLst>
          </p:cNvPr>
          <p:cNvSpPr/>
          <p:nvPr/>
        </p:nvSpPr>
        <p:spPr>
          <a:xfrm>
            <a:off x="7264780" y="3693143"/>
            <a:ext cx="12700" cy="31115"/>
          </a:xfrm>
          <a:custGeom>
            <a:avLst/>
            <a:gdLst/>
            <a:ahLst/>
            <a:cxnLst/>
            <a:rect l="l" t="t" r="r" b="b"/>
            <a:pathLst>
              <a:path w="12700" h="31115">
                <a:moveTo>
                  <a:pt x="12319" y="0"/>
                </a:moveTo>
                <a:lnTo>
                  <a:pt x="0" y="0"/>
                </a:lnTo>
                <a:lnTo>
                  <a:pt x="0" y="30721"/>
                </a:lnTo>
                <a:lnTo>
                  <a:pt x="12319" y="30721"/>
                </a:lnTo>
                <a:lnTo>
                  <a:pt x="12319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5" name="object 92">
            <a:extLst>
              <a:ext uri="{FF2B5EF4-FFF2-40B4-BE49-F238E27FC236}">
                <a16:creationId xmlns:a16="http://schemas.microsoft.com/office/drawing/2014/main" id="{349B56B3-89DB-47C3-97BD-D5580C8B3E8B}"/>
              </a:ext>
            </a:extLst>
          </p:cNvPr>
          <p:cNvSpPr/>
          <p:nvPr/>
        </p:nvSpPr>
        <p:spPr>
          <a:xfrm>
            <a:off x="7596251" y="3693143"/>
            <a:ext cx="7620" cy="31115"/>
          </a:xfrm>
          <a:custGeom>
            <a:avLst/>
            <a:gdLst/>
            <a:ahLst/>
            <a:cxnLst/>
            <a:rect l="l" t="t" r="r" b="b"/>
            <a:pathLst>
              <a:path w="7620" h="31115">
                <a:moveTo>
                  <a:pt x="7112" y="0"/>
                </a:moveTo>
                <a:lnTo>
                  <a:pt x="0" y="0"/>
                </a:lnTo>
                <a:lnTo>
                  <a:pt x="0" y="30721"/>
                </a:lnTo>
                <a:lnTo>
                  <a:pt x="7112" y="30721"/>
                </a:lnTo>
                <a:lnTo>
                  <a:pt x="7112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6" name="object 93">
            <a:extLst>
              <a:ext uri="{FF2B5EF4-FFF2-40B4-BE49-F238E27FC236}">
                <a16:creationId xmlns:a16="http://schemas.microsoft.com/office/drawing/2014/main" id="{E0A22FA7-4485-4B7F-BCFE-00FD11E20F5F}"/>
              </a:ext>
            </a:extLst>
          </p:cNvPr>
          <p:cNvSpPr/>
          <p:nvPr/>
        </p:nvSpPr>
        <p:spPr>
          <a:xfrm>
            <a:off x="7636764" y="3693143"/>
            <a:ext cx="10795" cy="31115"/>
          </a:xfrm>
          <a:custGeom>
            <a:avLst/>
            <a:gdLst/>
            <a:ahLst/>
            <a:cxnLst/>
            <a:rect l="l" t="t" r="r" b="b"/>
            <a:pathLst>
              <a:path w="10795" h="31115">
                <a:moveTo>
                  <a:pt x="10667" y="0"/>
                </a:moveTo>
                <a:lnTo>
                  <a:pt x="0" y="0"/>
                </a:lnTo>
                <a:lnTo>
                  <a:pt x="0" y="30721"/>
                </a:lnTo>
                <a:lnTo>
                  <a:pt x="10667" y="30721"/>
                </a:lnTo>
                <a:lnTo>
                  <a:pt x="10667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7" name="object 94">
            <a:extLst>
              <a:ext uri="{FF2B5EF4-FFF2-40B4-BE49-F238E27FC236}">
                <a16:creationId xmlns:a16="http://schemas.microsoft.com/office/drawing/2014/main" id="{3A9C6868-3B0B-4D7F-8402-26979AD88080}"/>
              </a:ext>
            </a:extLst>
          </p:cNvPr>
          <p:cNvSpPr/>
          <p:nvPr/>
        </p:nvSpPr>
        <p:spPr>
          <a:xfrm>
            <a:off x="7684389" y="3693143"/>
            <a:ext cx="7620" cy="31115"/>
          </a:xfrm>
          <a:custGeom>
            <a:avLst/>
            <a:gdLst/>
            <a:ahLst/>
            <a:cxnLst/>
            <a:rect l="l" t="t" r="r" b="b"/>
            <a:pathLst>
              <a:path w="7620" h="31115">
                <a:moveTo>
                  <a:pt x="7111" y="0"/>
                </a:moveTo>
                <a:lnTo>
                  <a:pt x="0" y="0"/>
                </a:lnTo>
                <a:lnTo>
                  <a:pt x="0" y="30721"/>
                </a:lnTo>
                <a:lnTo>
                  <a:pt x="7111" y="30721"/>
                </a:lnTo>
                <a:lnTo>
                  <a:pt x="7111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8" name="object 95">
            <a:extLst>
              <a:ext uri="{FF2B5EF4-FFF2-40B4-BE49-F238E27FC236}">
                <a16:creationId xmlns:a16="http://schemas.microsoft.com/office/drawing/2014/main" id="{8B04E0DC-BF70-4F0F-AEA3-C88174627292}"/>
              </a:ext>
            </a:extLst>
          </p:cNvPr>
          <p:cNvSpPr/>
          <p:nvPr/>
        </p:nvSpPr>
        <p:spPr>
          <a:xfrm>
            <a:off x="7725028" y="3693143"/>
            <a:ext cx="12700" cy="31115"/>
          </a:xfrm>
          <a:custGeom>
            <a:avLst/>
            <a:gdLst/>
            <a:ahLst/>
            <a:cxnLst/>
            <a:rect l="l" t="t" r="r" b="b"/>
            <a:pathLst>
              <a:path w="12700" h="31115">
                <a:moveTo>
                  <a:pt x="12319" y="0"/>
                </a:moveTo>
                <a:lnTo>
                  <a:pt x="0" y="0"/>
                </a:lnTo>
                <a:lnTo>
                  <a:pt x="0" y="30721"/>
                </a:lnTo>
                <a:lnTo>
                  <a:pt x="12319" y="30721"/>
                </a:lnTo>
                <a:lnTo>
                  <a:pt x="12319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9" name="object 96">
            <a:extLst>
              <a:ext uri="{FF2B5EF4-FFF2-40B4-BE49-F238E27FC236}">
                <a16:creationId xmlns:a16="http://schemas.microsoft.com/office/drawing/2014/main" id="{20E58600-9F00-4BC8-A6E4-9C713FB64EB8}"/>
              </a:ext>
            </a:extLst>
          </p:cNvPr>
          <p:cNvSpPr/>
          <p:nvPr/>
        </p:nvSpPr>
        <p:spPr>
          <a:xfrm>
            <a:off x="7134225" y="3655932"/>
            <a:ext cx="8890" cy="31115"/>
          </a:xfrm>
          <a:custGeom>
            <a:avLst/>
            <a:gdLst/>
            <a:ahLst/>
            <a:cxnLst/>
            <a:rect l="l" t="t" r="r" b="b"/>
            <a:pathLst>
              <a:path w="8890" h="31114">
                <a:moveTo>
                  <a:pt x="8763" y="0"/>
                </a:moveTo>
                <a:lnTo>
                  <a:pt x="0" y="0"/>
                </a:lnTo>
                <a:lnTo>
                  <a:pt x="0" y="30733"/>
                </a:lnTo>
                <a:lnTo>
                  <a:pt x="8763" y="30733"/>
                </a:lnTo>
                <a:lnTo>
                  <a:pt x="8763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0" name="object 97">
            <a:extLst>
              <a:ext uri="{FF2B5EF4-FFF2-40B4-BE49-F238E27FC236}">
                <a16:creationId xmlns:a16="http://schemas.microsoft.com/office/drawing/2014/main" id="{BD6A2A38-83CA-4C69-80CB-2DA1B56CCC75}"/>
              </a:ext>
            </a:extLst>
          </p:cNvPr>
          <p:cNvSpPr/>
          <p:nvPr/>
        </p:nvSpPr>
        <p:spPr>
          <a:xfrm>
            <a:off x="7176515" y="3655932"/>
            <a:ext cx="10795" cy="31115"/>
          </a:xfrm>
          <a:custGeom>
            <a:avLst/>
            <a:gdLst/>
            <a:ahLst/>
            <a:cxnLst/>
            <a:rect l="l" t="t" r="r" b="b"/>
            <a:pathLst>
              <a:path w="10795" h="31114">
                <a:moveTo>
                  <a:pt x="10667" y="0"/>
                </a:moveTo>
                <a:lnTo>
                  <a:pt x="0" y="0"/>
                </a:lnTo>
                <a:lnTo>
                  <a:pt x="0" y="30733"/>
                </a:lnTo>
                <a:lnTo>
                  <a:pt x="10667" y="30733"/>
                </a:lnTo>
                <a:lnTo>
                  <a:pt x="10667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1" name="object 98">
            <a:extLst>
              <a:ext uri="{FF2B5EF4-FFF2-40B4-BE49-F238E27FC236}">
                <a16:creationId xmlns:a16="http://schemas.microsoft.com/office/drawing/2014/main" id="{05AA2FA2-F1A3-4DFA-B844-047E0D353973}"/>
              </a:ext>
            </a:extLst>
          </p:cNvPr>
          <p:cNvSpPr/>
          <p:nvPr/>
        </p:nvSpPr>
        <p:spPr>
          <a:xfrm>
            <a:off x="7222363" y="3655932"/>
            <a:ext cx="8890" cy="31115"/>
          </a:xfrm>
          <a:custGeom>
            <a:avLst/>
            <a:gdLst/>
            <a:ahLst/>
            <a:cxnLst/>
            <a:rect l="l" t="t" r="r" b="b"/>
            <a:pathLst>
              <a:path w="8890" h="31114">
                <a:moveTo>
                  <a:pt x="8889" y="0"/>
                </a:moveTo>
                <a:lnTo>
                  <a:pt x="0" y="0"/>
                </a:lnTo>
                <a:lnTo>
                  <a:pt x="0" y="30733"/>
                </a:lnTo>
                <a:lnTo>
                  <a:pt x="8889" y="30733"/>
                </a:lnTo>
                <a:lnTo>
                  <a:pt x="8889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2" name="object 99">
            <a:extLst>
              <a:ext uri="{FF2B5EF4-FFF2-40B4-BE49-F238E27FC236}">
                <a16:creationId xmlns:a16="http://schemas.microsoft.com/office/drawing/2014/main" id="{0F01010C-0151-404F-9AFC-D81FD65FCEAD}"/>
              </a:ext>
            </a:extLst>
          </p:cNvPr>
          <p:cNvSpPr/>
          <p:nvPr/>
        </p:nvSpPr>
        <p:spPr>
          <a:xfrm>
            <a:off x="7264780" y="3655932"/>
            <a:ext cx="12700" cy="31115"/>
          </a:xfrm>
          <a:custGeom>
            <a:avLst/>
            <a:gdLst/>
            <a:ahLst/>
            <a:cxnLst/>
            <a:rect l="l" t="t" r="r" b="b"/>
            <a:pathLst>
              <a:path w="12700" h="31114">
                <a:moveTo>
                  <a:pt x="12319" y="0"/>
                </a:moveTo>
                <a:lnTo>
                  <a:pt x="0" y="0"/>
                </a:lnTo>
                <a:lnTo>
                  <a:pt x="0" y="30733"/>
                </a:lnTo>
                <a:lnTo>
                  <a:pt x="12319" y="30733"/>
                </a:lnTo>
                <a:lnTo>
                  <a:pt x="12319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3" name="object 100">
            <a:extLst>
              <a:ext uri="{FF2B5EF4-FFF2-40B4-BE49-F238E27FC236}">
                <a16:creationId xmlns:a16="http://schemas.microsoft.com/office/drawing/2014/main" id="{A1CE5D49-3A2E-4A5F-BC52-C7A06FF6D34E}"/>
              </a:ext>
            </a:extLst>
          </p:cNvPr>
          <p:cNvSpPr/>
          <p:nvPr/>
        </p:nvSpPr>
        <p:spPr>
          <a:xfrm>
            <a:off x="7594473" y="3655932"/>
            <a:ext cx="8890" cy="31115"/>
          </a:xfrm>
          <a:custGeom>
            <a:avLst/>
            <a:gdLst/>
            <a:ahLst/>
            <a:cxnLst/>
            <a:rect l="l" t="t" r="r" b="b"/>
            <a:pathLst>
              <a:path w="8890" h="31114">
                <a:moveTo>
                  <a:pt x="8890" y="0"/>
                </a:moveTo>
                <a:lnTo>
                  <a:pt x="0" y="0"/>
                </a:lnTo>
                <a:lnTo>
                  <a:pt x="0" y="30733"/>
                </a:lnTo>
                <a:lnTo>
                  <a:pt x="8890" y="30733"/>
                </a:lnTo>
                <a:lnTo>
                  <a:pt x="8890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4" name="object 101">
            <a:extLst>
              <a:ext uri="{FF2B5EF4-FFF2-40B4-BE49-F238E27FC236}">
                <a16:creationId xmlns:a16="http://schemas.microsoft.com/office/drawing/2014/main" id="{08718AA6-1998-4AC3-83F4-07141EB2C851}"/>
              </a:ext>
            </a:extLst>
          </p:cNvPr>
          <p:cNvSpPr/>
          <p:nvPr/>
        </p:nvSpPr>
        <p:spPr>
          <a:xfrm>
            <a:off x="7636764" y="3655932"/>
            <a:ext cx="10795" cy="31115"/>
          </a:xfrm>
          <a:custGeom>
            <a:avLst/>
            <a:gdLst/>
            <a:ahLst/>
            <a:cxnLst/>
            <a:rect l="l" t="t" r="r" b="b"/>
            <a:pathLst>
              <a:path w="10795" h="31114">
                <a:moveTo>
                  <a:pt x="10667" y="0"/>
                </a:moveTo>
                <a:lnTo>
                  <a:pt x="0" y="0"/>
                </a:lnTo>
                <a:lnTo>
                  <a:pt x="0" y="30733"/>
                </a:lnTo>
                <a:lnTo>
                  <a:pt x="10667" y="30733"/>
                </a:lnTo>
                <a:lnTo>
                  <a:pt x="10667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5" name="object 102">
            <a:extLst>
              <a:ext uri="{FF2B5EF4-FFF2-40B4-BE49-F238E27FC236}">
                <a16:creationId xmlns:a16="http://schemas.microsoft.com/office/drawing/2014/main" id="{69CFFEEC-DF64-4C89-9F8B-EAD6FA5DD495}"/>
              </a:ext>
            </a:extLst>
          </p:cNvPr>
          <p:cNvSpPr/>
          <p:nvPr/>
        </p:nvSpPr>
        <p:spPr>
          <a:xfrm>
            <a:off x="7682738" y="3655932"/>
            <a:ext cx="8890" cy="31115"/>
          </a:xfrm>
          <a:custGeom>
            <a:avLst/>
            <a:gdLst/>
            <a:ahLst/>
            <a:cxnLst/>
            <a:rect l="l" t="t" r="r" b="b"/>
            <a:pathLst>
              <a:path w="8890" h="31114">
                <a:moveTo>
                  <a:pt x="8762" y="0"/>
                </a:moveTo>
                <a:lnTo>
                  <a:pt x="0" y="0"/>
                </a:lnTo>
                <a:lnTo>
                  <a:pt x="0" y="30733"/>
                </a:lnTo>
                <a:lnTo>
                  <a:pt x="8762" y="30733"/>
                </a:lnTo>
                <a:lnTo>
                  <a:pt x="8762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6" name="object 103">
            <a:extLst>
              <a:ext uri="{FF2B5EF4-FFF2-40B4-BE49-F238E27FC236}">
                <a16:creationId xmlns:a16="http://schemas.microsoft.com/office/drawing/2014/main" id="{C7E617B7-FE9D-41E9-81B5-32A377315958}"/>
              </a:ext>
            </a:extLst>
          </p:cNvPr>
          <p:cNvSpPr/>
          <p:nvPr/>
        </p:nvSpPr>
        <p:spPr>
          <a:xfrm>
            <a:off x="7725028" y="3655932"/>
            <a:ext cx="12700" cy="31115"/>
          </a:xfrm>
          <a:custGeom>
            <a:avLst/>
            <a:gdLst/>
            <a:ahLst/>
            <a:cxnLst/>
            <a:rect l="l" t="t" r="r" b="b"/>
            <a:pathLst>
              <a:path w="12700" h="31114">
                <a:moveTo>
                  <a:pt x="12319" y="0"/>
                </a:moveTo>
                <a:lnTo>
                  <a:pt x="0" y="0"/>
                </a:lnTo>
                <a:lnTo>
                  <a:pt x="0" y="30733"/>
                </a:lnTo>
                <a:lnTo>
                  <a:pt x="12319" y="30733"/>
                </a:lnTo>
                <a:lnTo>
                  <a:pt x="12319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7" name="object 104">
            <a:extLst>
              <a:ext uri="{FF2B5EF4-FFF2-40B4-BE49-F238E27FC236}">
                <a16:creationId xmlns:a16="http://schemas.microsoft.com/office/drawing/2014/main" id="{64B90852-42B2-40C7-9CF5-95FE7DFCE57A}"/>
              </a:ext>
            </a:extLst>
          </p:cNvPr>
          <p:cNvSpPr/>
          <p:nvPr/>
        </p:nvSpPr>
        <p:spPr>
          <a:xfrm>
            <a:off x="7453376" y="3578297"/>
            <a:ext cx="8890" cy="32384"/>
          </a:xfrm>
          <a:custGeom>
            <a:avLst/>
            <a:gdLst/>
            <a:ahLst/>
            <a:cxnLst/>
            <a:rect l="l" t="t" r="r" b="b"/>
            <a:pathLst>
              <a:path w="8890" h="32385">
                <a:moveTo>
                  <a:pt x="8890" y="0"/>
                </a:moveTo>
                <a:lnTo>
                  <a:pt x="0" y="0"/>
                </a:lnTo>
                <a:lnTo>
                  <a:pt x="0" y="32346"/>
                </a:lnTo>
                <a:lnTo>
                  <a:pt x="8890" y="32346"/>
                </a:lnTo>
                <a:lnTo>
                  <a:pt x="8890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8" name="object 105">
            <a:extLst>
              <a:ext uri="{FF2B5EF4-FFF2-40B4-BE49-F238E27FC236}">
                <a16:creationId xmlns:a16="http://schemas.microsoft.com/office/drawing/2014/main" id="{65803CB2-C714-41CC-B50D-5930CC6838C2}"/>
              </a:ext>
            </a:extLst>
          </p:cNvPr>
          <p:cNvSpPr/>
          <p:nvPr/>
        </p:nvSpPr>
        <p:spPr>
          <a:xfrm>
            <a:off x="7495793" y="3578297"/>
            <a:ext cx="42545" cy="32384"/>
          </a:xfrm>
          <a:custGeom>
            <a:avLst/>
            <a:gdLst/>
            <a:ahLst/>
            <a:cxnLst/>
            <a:rect l="l" t="t" r="r" b="b"/>
            <a:pathLst>
              <a:path w="42545" h="32385">
                <a:moveTo>
                  <a:pt x="42291" y="0"/>
                </a:moveTo>
                <a:lnTo>
                  <a:pt x="0" y="0"/>
                </a:lnTo>
                <a:lnTo>
                  <a:pt x="0" y="32346"/>
                </a:lnTo>
                <a:lnTo>
                  <a:pt x="42291" y="32346"/>
                </a:lnTo>
                <a:lnTo>
                  <a:pt x="42291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9" name="object 106">
            <a:extLst>
              <a:ext uri="{FF2B5EF4-FFF2-40B4-BE49-F238E27FC236}">
                <a16:creationId xmlns:a16="http://schemas.microsoft.com/office/drawing/2014/main" id="{18527EFC-6DDB-402D-B1EE-9751F54D4F70}"/>
              </a:ext>
            </a:extLst>
          </p:cNvPr>
          <p:cNvSpPr/>
          <p:nvPr/>
        </p:nvSpPr>
        <p:spPr>
          <a:xfrm>
            <a:off x="7596251" y="3578297"/>
            <a:ext cx="7620" cy="32384"/>
          </a:xfrm>
          <a:custGeom>
            <a:avLst/>
            <a:gdLst/>
            <a:ahLst/>
            <a:cxnLst/>
            <a:rect l="l" t="t" r="r" b="b"/>
            <a:pathLst>
              <a:path w="7620" h="32385">
                <a:moveTo>
                  <a:pt x="7112" y="0"/>
                </a:moveTo>
                <a:lnTo>
                  <a:pt x="0" y="0"/>
                </a:lnTo>
                <a:lnTo>
                  <a:pt x="0" y="32346"/>
                </a:lnTo>
                <a:lnTo>
                  <a:pt x="7112" y="32346"/>
                </a:lnTo>
                <a:lnTo>
                  <a:pt x="7112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0" name="object 107">
            <a:extLst>
              <a:ext uri="{FF2B5EF4-FFF2-40B4-BE49-F238E27FC236}">
                <a16:creationId xmlns:a16="http://schemas.microsoft.com/office/drawing/2014/main" id="{C43AE011-A551-4575-981F-EEC15E180B0A}"/>
              </a:ext>
            </a:extLst>
          </p:cNvPr>
          <p:cNvSpPr/>
          <p:nvPr/>
        </p:nvSpPr>
        <p:spPr>
          <a:xfrm>
            <a:off x="7636764" y="3578297"/>
            <a:ext cx="10795" cy="32384"/>
          </a:xfrm>
          <a:custGeom>
            <a:avLst/>
            <a:gdLst/>
            <a:ahLst/>
            <a:cxnLst/>
            <a:rect l="l" t="t" r="r" b="b"/>
            <a:pathLst>
              <a:path w="10795" h="32385">
                <a:moveTo>
                  <a:pt x="10667" y="0"/>
                </a:moveTo>
                <a:lnTo>
                  <a:pt x="0" y="0"/>
                </a:lnTo>
                <a:lnTo>
                  <a:pt x="0" y="32346"/>
                </a:lnTo>
                <a:lnTo>
                  <a:pt x="10667" y="32346"/>
                </a:lnTo>
                <a:lnTo>
                  <a:pt x="10667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1" name="object 108">
            <a:extLst>
              <a:ext uri="{FF2B5EF4-FFF2-40B4-BE49-F238E27FC236}">
                <a16:creationId xmlns:a16="http://schemas.microsoft.com/office/drawing/2014/main" id="{1F4648FE-9B8E-4BDB-82D3-F44BE072D6A4}"/>
              </a:ext>
            </a:extLst>
          </p:cNvPr>
          <p:cNvSpPr/>
          <p:nvPr/>
        </p:nvSpPr>
        <p:spPr>
          <a:xfrm>
            <a:off x="7684389" y="3578297"/>
            <a:ext cx="7620" cy="32384"/>
          </a:xfrm>
          <a:custGeom>
            <a:avLst/>
            <a:gdLst/>
            <a:ahLst/>
            <a:cxnLst/>
            <a:rect l="l" t="t" r="r" b="b"/>
            <a:pathLst>
              <a:path w="7620" h="32385">
                <a:moveTo>
                  <a:pt x="7111" y="0"/>
                </a:moveTo>
                <a:lnTo>
                  <a:pt x="0" y="0"/>
                </a:lnTo>
                <a:lnTo>
                  <a:pt x="0" y="32346"/>
                </a:lnTo>
                <a:lnTo>
                  <a:pt x="7111" y="32346"/>
                </a:lnTo>
                <a:lnTo>
                  <a:pt x="7111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2" name="object 109">
            <a:extLst>
              <a:ext uri="{FF2B5EF4-FFF2-40B4-BE49-F238E27FC236}">
                <a16:creationId xmlns:a16="http://schemas.microsoft.com/office/drawing/2014/main" id="{AD7EC08F-4982-44D6-B300-0F215264D65C}"/>
              </a:ext>
            </a:extLst>
          </p:cNvPr>
          <p:cNvSpPr/>
          <p:nvPr/>
        </p:nvSpPr>
        <p:spPr>
          <a:xfrm>
            <a:off x="7725028" y="3578297"/>
            <a:ext cx="12700" cy="32384"/>
          </a:xfrm>
          <a:custGeom>
            <a:avLst/>
            <a:gdLst/>
            <a:ahLst/>
            <a:cxnLst/>
            <a:rect l="l" t="t" r="r" b="b"/>
            <a:pathLst>
              <a:path w="12700" h="32385">
                <a:moveTo>
                  <a:pt x="12319" y="0"/>
                </a:moveTo>
                <a:lnTo>
                  <a:pt x="0" y="0"/>
                </a:lnTo>
                <a:lnTo>
                  <a:pt x="0" y="32346"/>
                </a:lnTo>
                <a:lnTo>
                  <a:pt x="12319" y="32346"/>
                </a:lnTo>
                <a:lnTo>
                  <a:pt x="12319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3" name="object 110">
            <a:extLst>
              <a:ext uri="{FF2B5EF4-FFF2-40B4-BE49-F238E27FC236}">
                <a16:creationId xmlns:a16="http://schemas.microsoft.com/office/drawing/2014/main" id="{2AA16F35-6F36-4EC9-A200-9BB06F3F9DC8}"/>
              </a:ext>
            </a:extLst>
          </p:cNvPr>
          <p:cNvSpPr/>
          <p:nvPr/>
        </p:nvSpPr>
        <p:spPr>
          <a:xfrm>
            <a:off x="7138606" y="3541099"/>
            <a:ext cx="0" cy="69850"/>
          </a:xfrm>
          <a:custGeom>
            <a:avLst/>
            <a:gdLst/>
            <a:ahLst/>
            <a:cxnLst/>
            <a:rect l="l" t="t" r="r" b="b"/>
            <a:pathLst>
              <a:path h="69850">
                <a:moveTo>
                  <a:pt x="0" y="69545"/>
                </a:moveTo>
                <a:lnTo>
                  <a:pt x="0" y="0"/>
                </a:lnTo>
                <a:lnTo>
                  <a:pt x="0" y="69545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4" name="object 111">
            <a:extLst>
              <a:ext uri="{FF2B5EF4-FFF2-40B4-BE49-F238E27FC236}">
                <a16:creationId xmlns:a16="http://schemas.microsoft.com/office/drawing/2014/main" id="{66902FCE-527A-4CE1-9F4E-770C61D2334D}"/>
              </a:ext>
            </a:extLst>
          </p:cNvPr>
          <p:cNvSpPr/>
          <p:nvPr/>
        </p:nvSpPr>
        <p:spPr>
          <a:xfrm>
            <a:off x="7181850" y="3541099"/>
            <a:ext cx="0" cy="69850"/>
          </a:xfrm>
          <a:custGeom>
            <a:avLst/>
            <a:gdLst/>
            <a:ahLst/>
            <a:cxnLst/>
            <a:rect l="l" t="t" r="r" b="b"/>
            <a:pathLst>
              <a:path h="69850">
                <a:moveTo>
                  <a:pt x="0" y="69545"/>
                </a:moveTo>
                <a:lnTo>
                  <a:pt x="0" y="0"/>
                </a:lnTo>
                <a:lnTo>
                  <a:pt x="0" y="69545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5" name="object 112">
            <a:extLst>
              <a:ext uri="{FF2B5EF4-FFF2-40B4-BE49-F238E27FC236}">
                <a16:creationId xmlns:a16="http://schemas.microsoft.com/office/drawing/2014/main" id="{1D9DB0F5-78B8-41FF-BE72-0B445E64C415}"/>
              </a:ext>
            </a:extLst>
          </p:cNvPr>
          <p:cNvSpPr/>
          <p:nvPr/>
        </p:nvSpPr>
        <p:spPr>
          <a:xfrm>
            <a:off x="7226807" y="3541099"/>
            <a:ext cx="0" cy="69850"/>
          </a:xfrm>
          <a:custGeom>
            <a:avLst/>
            <a:gdLst/>
            <a:ahLst/>
            <a:cxnLst/>
            <a:rect l="l" t="t" r="r" b="b"/>
            <a:pathLst>
              <a:path h="69850">
                <a:moveTo>
                  <a:pt x="0" y="69545"/>
                </a:moveTo>
                <a:lnTo>
                  <a:pt x="0" y="0"/>
                </a:lnTo>
                <a:lnTo>
                  <a:pt x="0" y="69545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6" name="object 113">
            <a:extLst>
              <a:ext uri="{FF2B5EF4-FFF2-40B4-BE49-F238E27FC236}">
                <a16:creationId xmlns:a16="http://schemas.microsoft.com/office/drawing/2014/main" id="{92C4C75D-6F84-49ED-BD9C-461C8A5E6BE1}"/>
              </a:ext>
            </a:extLst>
          </p:cNvPr>
          <p:cNvSpPr/>
          <p:nvPr/>
        </p:nvSpPr>
        <p:spPr>
          <a:xfrm>
            <a:off x="7270940" y="3541099"/>
            <a:ext cx="0" cy="69850"/>
          </a:xfrm>
          <a:custGeom>
            <a:avLst/>
            <a:gdLst/>
            <a:ahLst/>
            <a:cxnLst/>
            <a:rect l="l" t="t" r="r" b="b"/>
            <a:pathLst>
              <a:path h="69850">
                <a:moveTo>
                  <a:pt x="0" y="69545"/>
                </a:moveTo>
                <a:lnTo>
                  <a:pt x="0" y="0"/>
                </a:lnTo>
                <a:lnTo>
                  <a:pt x="0" y="69545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7" name="object 114">
            <a:extLst>
              <a:ext uri="{FF2B5EF4-FFF2-40B4-BE49-F238E27FC236}">
                <a16:creationId xmlns:a16="http://schemas.microsoft.com/office/drawing/2014/main" id="{00D17E8F-6B48-495E-A703-E6AB4E3E9821}"/>
              </a:ext>
            </a:extLst>
          </p:cNvPr>
          <p:cNvSpPr/>
          <p:nvPr/>
        </p:nvSpPr>
        <p:spPr>
          <a:xfrm>
            <a:off x="7369619" y="3541099"/>
            <a:ext cx="0" cy="69850"/>
          </a:xfrm>
          <a:custGeom>
            <a:avLst/>
            <a:gdLst/>
            <a:ahLst/>
            <a:cxnLst/>
            <a:rect l="l" t="t" r="r" b="b"/>
            <a:pathLst>
              <a:path h="69850">
                <a:moveTo>
                  <a:pt x="0" y="69545"/>
                </a:moveTo>
                <a:lnTo>
                  <a:pt x="0" y="0"/>
                </a:lnTo>
                <a:lnTo>
                  <a:pt x="0" y="69545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8" name="object 115">
            <a:extLst>
              <a:ext uri="{FF2B5EF4-FFF2-40B4-BE49-F238E27FC236}">
                <a16:creationId xmlns:a16="http://schemas.microsoft.com/office/drawing/2014/main" id="{E63782DE-35A6-4210-AA38-41649C560DB7}"/>
              </a:ext>
            </a:extLst>
          </p:cNvPr>
          <p:cNvSpPr/>
          <p:nvPr/>
        </p:nvSpPr>
        <p:spPr>
          <a:xfrm>
            <a:off x="7412863" y="3541099"/>
            <a:ext cx="0" cy="69850"/>
          </a:xfrm>
          <a:custGeom>
            <a:avLst/>
            <a:gdLst/>
            <a:ahLst/>
            <a:cxnLst/>
            <a:rect l="l" t="t" r="r" b="b"/>
            <a:pathLst>
              <a:path h="69850">
                <a:moveTo>
                  <a:pt x="0" y="69545"/>
                </a:moveTo>
                <a:lnTo>
                  <a:pt x="0" y="0"/>
                </a:lnTo>
                <a:lnTo>
                  <a:pt x="0" y="69545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9" name="object 116">
            <a:extLst>
              <a:ext uri="{FF2B5EF4-FFF2-40B4-BE49-F238E27FC236}">
                <a16:creationId xmlns:a16="http://schemas.microsoft.com/office/drawing/2014/main" id="{0AA24987-6280-4CB2-9E5F-CD95403C9B69}"/>
              </a:ext>
            </a:extLst>
          </p:cNvPr>
          <p:cNvSpPr/>
          <p:nvPr/>
        </p:nvSpPr>
        <p:spPr>
          <a:xfrm>
            <a:off x="7453376" y="3541099"/>
            <a:ext cx="5715" cy="32384"/>
          </a:xfrm>
          <a:custGeom>
            <a:avLst/>
            <a:gdLst/>
            <a:ahLst/>
            <a:cxnLst/>
            <a:rect l="l" t="t" r="r" b="b"/>
            <a:pathLst>
              <a:path w="5715" h="32385">
                <a:moveTo>
                  <a:pt x="5334" y="0"/>
                </a:moveTo>
                <a:lnTo>
                  <a:pt x="0" y="0"/>
                </a:lnTo>
                <a:lnTo>
                  <a:pt x="0" y="32346"/>
                </a:lnTo>
                <a:lnTo>
                  <a:pt x="5334" y="32346"/>
                </a:lnTo>
                <a:lnTo>
                  <a:pt x="5334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0" name="object 117">
            <a:extLst>
              <a:ext uri="{FF2B5EF4-FFF2-40B4-BE49-F238E27FC236}">
                <a16:creationId xmlns:a16="http://schemas.microsoft.com/office/drawing/2014/main" id="{27CE5BE5-6EE4-4227-8BA8-1AB8A321BB46}"/>
              </a:ext>
            </a:extLst>
          </p:cNvPr>
          <p:cNvSpPr/>
          <p:nvPr/>
        </p:nvSpPr>
        <p:spPr>
          <a:xfrm>
            <a:off x="7494015" y="3541099"/>
            <a:ext cx="44450" cy="32384"/>
          </a:xfrm>
          <a:custGeom>
            <a:avLst/>
            <a:gdLst/>
            <a:ahLst/>
            <a:cxnLst/>
            <a:rect l="l" t="t" r="r" b="b"/>
            <a:pathLst>
              <a:path w="44450" h="32385">
                <a:moveTo>
                  <a:pt x="44069" y="0"/>
                </a:moveTo>
                <a:lnTo>
                  <a:pt x="0" y="0"/>
                </a:lnTo>
                <a:lnTo>
                  <a:pt x="0" y="32346"/>
                </a:lnTo>
                <a:lnTo>
                  <a:pt x="44069" y="32346"/>
                </a:lnTo>
                <a:lnTo>
                  <a:pt x="44069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1" name="object 118">
            <a:extLst>
              <a:ext uri="{FF2B5EF4-FFF2-40B4-BE49-F238E27FC236}">
                <a16:creationId xmlns:a16="http://schemas.microsoft.com/office/drawing/2014/main" id="{50E634BF-BAC0-4A49-8CFD-B882A49BA4B2}"/>
              </a:ext>
            </a:extLst>
          </p:cNvPr>
          <p:cNvSpPr/>
          <p:nvPr/>
        </p:nvSpPr>
        <p:spPr>
          <a:xfrm>
            <a:off x="7594473" y="3541099"/>
            <a:ext cx="8890" cy="32384"/>
          </a:xfrm>
          <a:custGeom>
            <a:avLst/>
            <a:gdLst/>
            <a:ahLst/>
            <a:cxnLst/>
            <a:rect l="l" t="t" r="r" b="b"/>
            <a:pathLst>
              <a:path w="8890" h="32385">
                <a:moveTo>
                  <a:pt x="8890" y="0"/>
                </a:moveTo>
                <a:lnTo>
                  <a:pt x="0" y="0"/>
                </a:lnTo>
                <a:lnTo>
                  <a:pt x="0" y="32346"/>
                </a:lnTo>
                <a:lnTo>
                  <a:pt x="8890" y="32346"/>
                </a:lnTo>
                <a:lnTo>
                  <a:pt x="8890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2" name="object 119">
            <a:extLst>
              <a:ext uri="{FF2B5EF4-FFF2-40B4-BE49-F238E27FC236}">
                <a16:creationId xmlns:a16="http://schemas.microsoft.com/office/drawing/2014/main" id="{890C5409-1867-47AB-BB10-583CF6ABFD61}"/>
              </a:ext>
            </a:extLst>
          </p:cNvPr>
          <p:cNvSpPr/>
          <p:nvPr/>
        </p:nvSpPr>
        <p:spPr>
          <a:xfrm>
            <a:off x="7636764" y="3541099"/>
            <a:ext cx="10795" cy="32384"/>
          </a:xfrm>
          <a:custGeom>
            <a:avLst/>
            <a:gdLst/>
            <a:ahLst/>
            <a:cxnLst/>
            <a:rect l="l" t="t" r="r" b="b"/>
            <a:pathLst>
              <a:path w="10795" h="32385">
                <a:moveTo>
                  <a:pt x="10667" y="0"/>
                </a:moveTo>
                <a:lnTo>
                  <a:pt x="0" y="0"/>
                </a:lnTo>
                <a:lnTo>
                  <a:pt x="0" y="32346"/>
                </a:lnTo>
                <a:lnTo>
                  <a:pt x="10667" y="32346"/>
                </a:lnTo>
                <a:lnTo>
                  <a:pt x="10667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3" name="object 120">
            <a:extLst>
              <a:ext uri="{FF2B5EF4-FFF2-40B4-BE49-F238E27FC236}">
                <a16:creationId xmlns:a16="http://schemas.microsoft.com/office/drawing/2014/main" id="{5EFFB9D8-7F31-41A5-9B30-4C2F45DCA0BB}"/>
              </a:ext>
            </a:extLst>
          </p:cNvPr>
          <p:cNvSpPr/>
          <p:nvPr/>
        </p:nvSpPr>
        <p:spPr>
          <a:xfrm>
            <a:off x="7682738" y="3541099"/>
            <a:ext cx="8890" cy="32384"/>
          </a:xfrm>
          <a:custGeom>
            <a:avLst/>
            <a:gdLst/>
            <a:ahLst/>
            <a:cxnLst/>
            <a:rect l="l" t="t" r="r" b="b"/>
            <a:pathLst>
              <a:path w="8890" h="32385">
                <a:moveTo>
                  <a:pt x="8762" y="0"/>
                </a:moveTo>
                <a:lnTo>
                  <a:pt x="0" y="0"/>
                </a:lnTo>
                <a:lnTo>
                  <a:pt x="0" y="32346"/>
                </a:lnTo>
                <a:lnTo>
                  <a:pt x="8762" y="32346"/>
                </a:lnTo>
                <a:lnTo>
                  <a:pt x="8762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4" name="object 121">
            <a:extLst>
              <a:ext uri="{FF2B5EF4-FFF2-40B4-BE49-F238E27FC236}">
                <a16:creationId xmlns:a16="http://schemas.microsoft.com/office/drawing/2014/main" id="{4E7A9392-8F1B-4C00-A897-F7F7C3C07C68}"/>
              </a:ext>
            </a:extLst>
          </p:cNvPr>
          <p:cNvSpPr/>
          <p:nvPr/>
        </p:nvSpPr>
        <p:spPr>
          <a:xfrm>
            <a:off x="7725028" y="3541099"/>
            <a:ext cx="12700" cy="32384"/>
          </a:xfrm>
          <a:custGeom>
            <a:avLst/>
            <a:gdLst/>
            <a:ahLst/>
            <a:cxnLst/>
            <a:rect l="l" t="t" r="r" b="b"/>
            <a:pathLst>
              <a:path w="12700" h="32385">
                <a:moveTo>
                  <a:pt x="12319" y="0"/>
                </a:moveTo>
                <a:lnTo>
                  <a:pt x="0" y="0"/>
                </a:lnTo>
                <a:lnTo>
                  <a:pt x="0" y="32346"/>
                </a:lnTo>
                <a:lnTo>
                  <a:pt x="12319" y="32346"/>
                </a:lnTo>
                <a:lnTo>
                  <a:pt x="12319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5" name="object 122">
            <a:extLst>
              <a:ext uri="{FF2B5EF4-FFF2-40B4-BE49-F238E27FC236}">
                <a16:creationId xmlns:a16="http://schemas.microsoft.com/office/drawing/2014/main" id="{C3FE69BF-073A-4786-BF6B-77A300F3D69E}"/>
              </a:ext>
            </a:extLst>
          </p:cNvPr>
          <p:cNvSpPr/>
          <p:nvPr/>
        </p:nvSpPr>
        <p:spPr>
          <a:xfrm>
            <a:off x="7428738" y="3513642"/>
            <a:ext cx="109855" cy="0"/>
          </a:xfrm>
          <a:custGeom>
            <a:avLst/>
            <a:gdLst/>
            <a:ahLst/>
            <a:cxnLst/>
            <a:rect l="l" t="t" r="r" b="b"/>
            <a:pathLst>
              <a:path w="109854">
                <a:moveTo>
                  <a:pt x="0" y="0"/>
                </a:moveTo>
                <a:lnTo>
                  <a:pt x="109347" y="0"/>
                </a:lnTo>
              </a:path>
            </a:pathLst>
          </a:custGeom>
          <a:ln w="31750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6" name="object 123">
            <a:extLst>
              <a:ext uri="{FF2B5EF4-FFF2-40B4-BE49-F238E27FC236}">
                <a16:creationId xmlns:a16="http://schemas.microsoft.com/office/drawing/2014/main" id="{E2ED2540-40A0-4D64-8C7D-0BF5EBA5878A}"/>
              </a:ext>
            </a:extLst>
          </p:cNvPr>
          <p:cNvSpPr/>
          <p:nvPr/>
        </p:nvSpPr>
        <p:spPr>
          <a:xfrm>
            <a:off x="7464043" y="3467287"/>
            <a:ext cx="74295" cy="30480"/>
          </a:xfrm>
          <a:custGeom>
            <a:avLst/>
            <a:gdLst/>
            <a:ahLst/>
            <a:cxnLst/>
            <a:rect l="l" t="t" r="r" b="b"/>
            <a:pathLst>
              <a:path w="74295" h="30479">
                <a:moveTo>
                  <a:pt x="0" y="30479"/>
                </a:moveTo>
                <a:lnTo>
                  <a:pt x="74041" y="30479"/>
                </a:lnTo>
                <a:lnTo>
                  <a:pt x="74041" y="0"/>
                </a:lnTo>
                <a:lnTo>
                  <a:pt x="0" y="0"/>
                </a:lnTo>
                <a:lnTo>
                  <a:pt x="0" y="30479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7" name="object 124">
            <a:extLst>
              <a:ext uri="{FF2B5EF4-FFF2-40B4-BE49-F238E27FC236}">
                <a16:creationId xmlns:a16="http://schemas.microsoft.com/office/drawing/2014/main" id="{073D21C3-6F64-4389-9321-1FEC4D7C1B3B}"/>
              </a:ext>
            </a:extLst>
          </p:cNvPr>
          <p:cNvSpPr/>
          <p:nvPr/>
        </p:nvSpPr>
        <p:spPr>
          <a:xfrm>
            <a:off x="7428738" y="3451412"/>
            <a:ext cx="109855" cy="0"/>
          </a:xfrm>
          <a:custGeom>
            <a:avLst/>
            <a:gdLst/>
            <a:ahLst/>
            <a:cxnLst/>
            <a:rect l="l" t="t" r="r" b="b"/>
            <a:pathLst>
              <a:path w="109854">
                <a:moveTo>
                  <a:pt x="0" y="0"/>
                </a:moveTo>
                <a:lnTo>
                  <a:pt x="109347" y="0"/>
                </a:lnTo>
              </a:path>
            </a:pathLst>
          </a:custGeom>
          <a:ln w="31750">
            <a:solidFill>
              <a:srgbClr val="A4A4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8" name="TextBox 237">
            <a:extLst>
              <a:ext uri="{FF2B5EF4-FFF2-40B4-BE49-F238E27FC236}">
                <a16:creationId xmlns:a16="http://schemas.microsoft.com/office/drawing/2014/main" id="{B7DFF90D-B66B-450B-9A83-C45BA8F14566}"/>
              </a:ext>
            </a:extLst>
          </p:cNvPr>
          <p:cNvSpPr txBox="1"/>
          <p:nvPr/>
        </p:nvSpPr>
        <p:spPr>
          <a:xfrm>
            <a:off x="8911178" y="6285167"/>
            <a:ext cx="1068397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de-DE" sz="2400" dirty="0" err="1"/>
          </a:p>
        </p:txBody>
      </p:sp>
      <p:sp>
        <p:nvSpPr>
          <p:cNvPr id="239" name="Foliennummernplatzhalter 1">
            <a:extLst>
              <a:ext uri="{FF2B5EF4-FFF2-40B4-BE49-F238E27FC236}">
                <a16:creationId xmlns:a16="http://schemas.microsoft.com/office/drawing/2014/main" id="{0F299D9E-4F7A-4DCE-81AD-9047DF9317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40000" y="6336000"/>
            <a:ext cx="672000" cy="180000"/>
          </a:xfrm>
        </p:spPr>
        <p:txBody>
          <a:bodyPr/>
          <a:lstStyle/>
          <a:p>
            <a:fld id="{BEA30288-E3B5-4660-9128-F5D5808E1F0C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90531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184A496-15C6-4F87-A8FC-D7963215F5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4525" y="401451"/>
            <a:ext cx="11211475" cy="1008000"/>
          </a:xfrm>
        </p:spPr>
        <p:txBody>
          <a:bodyPr/>
          <a:lstStyle/>
          <a:p>
            <a:r>
              <a:rPr lang="de-DE" dirty="0"/>
              <a:t>MARKET ENTRY - GERMANY</a:t>
            </a:r>
          </a:p>
        </p:txBody>
      </p:sp>
      <p:sp>
        <p:nvSpPr>
          <p:cNvPr id="100" name="object 28">
            <a:extLst>
              <a:ext uri="{FF2B5EF4-FFF2-40B4-BE49-F238E27FC236}">
                <a16:creationId xmlns:a16="http://schemas.microsoft.com/office/drawing/2014/main" id="{E4EC3F25-C3AE-4E32-833F-AF653A15CC46}"/>
              </a:ext>
            </a:extLst>
          </p:cNvPr>
          <p:cNvSpPr txBox="1"/>
          <p:nvPr/>
        </p:nvSpPr>
        <p:spPr>
          <a:xfrm>
            <a:off x="698095" y="1486294"/>
            <a:ext cx="2519045" cy="632224"/>
          </a:xfrm>
          <a:prstGeom prst="rect">
            <a:avLst/>
          </a:prstGeom>
          <a:solidFill>
            <a:srgbClr val="EB7B2F"/>
          </a:solidFill>
        </p:spPr>
        <p:txBody>
          <a:bodyPr vert="horz" wrap="square" lIns="0" tIns="135890" rIns="0" bIns="0" rtlCol="0">
            <a:spAutoFit/>
          </a:bodyPr>
          <a:lstStyle/>
          <a:p>
            <a:pPr marL="522605">
              <a:lnSpc>
                <a:spcPct val="100000"/>
              </a:lnSpc>
              <a:spcBef>
                <a:spcPts val="1070"/>
              </a:spcBef>
            </a:pPr>
            <a:r>
              <a:rPr lang="de-DE" sz="1400" b="1" dirty="0">
                <a:latin typeface="Arial"/>
                <a:cs typeface="Arial"/>
              </a:rPr>
              <a:t>  Partnerships</a:t>
            </a:r>
            <a:r>
              <a:rPr sz="1350" b="1" spc="-7" baseline="21604" dirty="0">
                <a:latin typeface="Arial"/>
                <a:cs typeface="Arial"/>
              </a:rPr>
              <a:t>1</a:t>
            </a:r>
            <a:endParaRPr lang="en-US" sz="1350" b="1" spc="-7" baseline="21604" dirty="0">
              <a:latin typeface="Arial"/>
              <a:cs typeface="Arial"/>
            </a:endParaRPr>
          </a:p>
          <a:p>
            <a:pPr marL="522605">
              <a:lnSpc>
                <a:spcPct val="100000"/>
              </a:lnSpc>
              <a:spcBef>
                <a:spcPts val="1070"/>
              </a:spcBef>
            </a:pPr>
            <a:endParaRPr sz="1350" baseline="21604" dirty="0">
              <a:latin typeface="Arial"/>
              <a:cs typeface="Arial"/>
            </a:endParaRPr>
          </a:p>
        </p:txBody>
      </p:sp>
      <p:sp>
        <p:nvSpPr>
          <p:cNvPr id="101" name="object 29">
            <a:extLst>
              <a:ext uri="{FF2B5EF4-FFF2-40B4-BE49-F238E27FC236}">
                <a16:creationId xmlns:a16="http://schemas.microsoft.com/office/drawing/2014/main" id="{98234C45-48E3-456F-93BE-D2E63020661C}"/>
              </a:ext>
            </a:extLst>
          </p:cNvPr>
          <p:cNvSpPr/>
          <p:nvPr/>
        </p:nvSpPr>
        <p:spPr>
          <a:xfrm>
            <a:off x="695400" y="2088821"/>
            <a:ext cx="2519045" cy="3764279"/>
          </a:xfrm>
          <a:custGeom>
            <a:avLst/>
            <a:gdLst/>
            <a:ahLst/>
            <a:cxnLst/>
            <a:rect l="l" t="t" r="r" b="b"/>
            <a:pathLst>
              <a:path w="2519045" h="3764279">
                <a:moveTo>
                  <a:pt x="0" y="3764026"/>
                </a:moveTo>
                <a:lnTo>
                  <a:pt x="2519044" y="3764026"/>
                </a:lnTo>
                <a:lnTo>
                  <a:pt x="2519044" y="0"/>
                </a:lnTo>
                <a:lnTo>
                  <a:pt x="0" y="0"/>
                </a:lnTo>
                <a:lnTo>
                  <a:pt x="0" y="3764026"/>
                </a:lnTo>
                <a:close/>
              </a:path>
            </a:pathLst>
          </a:custGeom>
          <a:ln w="19812">
            <a:solidFill>
              <a:srgbClr val="EB7B2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2" name="object 30">
            <a:extLst>
              <a:ext uri="{FF2B5EF4-FFF2-40B4-BE49-F238E27FC236}">
                <a16:creationId xmlns:a16="http://schemas.microsoft.com/office/drawing/2014/main" id="{6783CD18-7CC4-486D-82BF-E15AF7CA1F2C}"/>
              </a:ext>
            </a:extLst>
          </p:cNvPr>
          <p:cNvSpPr/>
          <p:nvPr/>
        </p:nvSpPr>
        <p:spPr>
          <a:xfrm>
            <a:off x="969720" y="2988921"/>
            <a:ext cx="2011680" cy="2721610"/>
          </a:xfrm>
          <a:custGeom>
            <a:avLst/>
            <a:gdLst/>
            <a:ahLst/>
            <a:cxnLst/>
            <a:rect l="l" t="t" r="r" b="b"/>
            <a:pathLst>
              <a:path w="2011680" h="2721610">
                <a:moveTo>
                  <a:pt x="0" y="2721482"/>
                </a:moveTo>
                <a:lnTo>
                  <a:pt x="2011552" y="2721482"/>
                </a:lnTo>
                <a:lnTo>
                  <a:pt x="2011552" y="0"/>
                </a:lnTo>
                <a:lnTo>
                  <a:pt x="0" y="0"/>
                </a:lnTo>
                <a:lnTo>
                  <a:pt x="0" y="2721482"/>
                </a:lnTo>
                <a:close/>
              </a:path>
            </a:pathLst>
          </a:custGeom>
          <a:ln w="19812">
            <a:solidFill>
              <a:srgbClr val="EB7B2F"/>
            </a:solidFill>
            <a:prstDash val="sys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4" name="object 32">
            <a:extLst>
              <a:ext uri="{FF2B5EF4-FFF2-40B4-BE49-F238E27FC236}">
                <a16:creationId xmlns:a16="http://schemas.microsoft.com/office/drawing/2014/main" id="{2727A2EA-80D9-4A87-906B-25930041CC87}"/>
              </a:ext>
            </a:extLst>
          </p:cNvPr>
          <p:cNvSpPr txBox="1"/>
          <p:nvPr/>
        </p:nvSpPr>
        <p:spPr>
          <a:xfrm>
            <a:off x="695400" y="2185409"/>
            <a:ext cx="2519045" cy="989965"/>
          </a:xfrm>
          <a:prstGeom prst="rect">
            <a:avLst/>
          </a:prstGeom>
        </p:spPr>
        <p:txBody>
          <a:bodyPr vert="horz" wrap="square" lIns="0" tIns="36830" rIns="0" bIns="0" rtlCol="0">
            <a:spAutoFit/>
          </a:bodyPr>
          <a:lstStyle/>
          <a:p>
            <a:pPr marL="157480" indent="-114300">
              <a:lnSpc>
                <a:spcPct val="100000"/>
              </a:lnSpc>
              <a:spcBef>
                <a:spcPts val="290"/>
              </a:spcBef>
              <a:buClr>
                <a:srgbClr val="EC7C30"/>
              </a:buClr>
              <a:buFont typeface="Wingdings"/>
              <a:buChar char=""/>
              <a:tabLst>
                <a:tab pos="158115" algn="l"/>
              </a:tabLst>
            </a:pPr>
            <a:r>
              <a:rPr lang="en-US" sz="1100" dirty="0">
                <a:latin typeface="Arial"/>
                <a:cs typeface="Arial"/>
              </a:rPr>
              <a:t>Doctors, and Laboratories</a:t>
            </a:r>
            <a:endParaRPr sz="1100" dirty="0">
              <a:latin typeface="Arial"/>
              <a:cs typeface="Arial"/>
            </a:endParaRPr>
          </a:p>
          <a:p>
            <a:pPr marL="157480" indent="-114300">
              <a:lnSpc>
                <a:spcPct val="100000"/>
              </a:lnSpc>
              <a:spcBef>
                <a:spcPts val="190"/>
              </a:spcBef>
              <a:buClr>
                <a:srgbClr val="EC7C30"/>
              </a:buClr>
              <a:buFont typeface="Wingdings"/>
              <a:buChar char=""/>
              <a:tabLst>
                <a:tab pos="158115" algn="l"/>
              </a:tabLst>
            </a:pPr>
            <a:r>
              <a:rPr lang="en-US" sz="1100" spc="-5" dirty="0">
                <a:latin typeface="Arial"/>
                <a:cs typeface="Arial"/>
              </a:rPr>
              <a:t>Hospitals, and clinics</a:t>
            </a:r>
            <a:endParaRPr sz="1100" dirty="0">
              <a:latin typeface="Arial"/>
              <a:cs typeface="Arial"/>
            </a:endParaRPr>
          </a:p>
          <a:p>
            <a:pPr marL="157480" indent="-114300">
              <a:lnSpc>
                <a:spcPct val="100000"/>
              </a:lnSpc>
              <a:spcBef>
                <a:spcPts val="195"/>
              </a:spcBef>
              <a:buClr>
                <a:srgbClr val="EC7C30"/>
              </a:buClr>
              <a:buFont typeface="Wingdings"/>
              <a:buChar char=""/>
              <a:tabLst>
                <a:tab pos="158115" algn="l"/>
              </a:tabLst>
            </a:pPr>
            <a:r>
              <a:rPr lang="en-US" sz="1100" spc="-5" dirty="0">
                <a:latin typeface="Arial"/>
                <a:cs typeface="Arial"/>
              </a:rPr>
              <a:t>Insurance Companies</a:t>
            </a:r>
            <a:endParaRPr sz="11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0"/>
              </a:spcBef>
            </a:pPr>
            <a:endParaRPr sz="1500" dirty="0">
              <a:latin typeface="Times New Roman"/>
              <a:cs typeface="Times New Roman"/>
            </a:endParaRPr>
          </a:p>
          <a:p>
            <a:pPr marL="682625">
              <a:lnSpc>
                <a:spcPct val="100000"/>
              </a:lnSpc>
            </a:pPr>
            <a:r>
              <a:rPr lang="en-US" sz="1100" spc="-5" dirty="0">
                <a:solidFill>
                  <a:srgbClr val="EB7B2F"/>
                </a:solidFill>
                <a:latin typeface="Arial"/>
                <a:cs typeface="Arial"/>
              </a:rPr>
              <a:t>     </a:t>
            </a:r>
            <a:endParaRPr sz="1100" dirty="0">
              <a:latin typeface="Arial"/>
              <a:cs typeface="Arial"/>
            </a:endParaRPr>
          </a:p>
        </p:txBody>
      </p:sp>
      <p:sp>
        <p:nvSpPr>
          <p:cNvPr id="105" name="object 30">
            <a:extLst>
              <a:ext uri="{FF2B5EF4-FFF2-40B4-BE49-F238E27FC236}">
                <a16:creationId xmlns:a16="http://schemas.microsoft.com/office/drawing/2014/main" id="{B08EA5BF-9577-46BA-B3F1-B857289297A3}"/>
              </a:ext>
            </a:extLst>
          </p:cNvPr>
          <p:cNvSpPr/>
          <p:nvPr/>
        </p:nvSpPr>
        <p:spPr>
          <a:xfrm>
            <a:off x="4424644" y="2988921"/>
            <a:ext cx="2011680" cy="2721610"/>
          </a:xfrm>
          <a:custGeom>
            <a:avLst/>
            <a:gdLst/>
            <a:ahLst/>
            <a:cxnLst/>
            <a:rect l="l" t="t" r="r" b="b"/>
            <a:pathLst>
              <a:path w="2011680" h="2721610">
                <a:moveTo>
                  <a:pt x="0" y="2721482"/>
                </a:moveTo>
                <a:lnTo>
                  <a:pt x="2011552" y="2721482"/>
                </a:lnTo>
                <a:lnTo>
                  <a:pt x="2011552" y="0"/>
                </a:lnTo>
                <a:lnTo>
                  <a:pt x="0" y="0"/>
                </a:lnTo>
                <a:lnTo>
                  <a:pt x="0" y="2721482"/>
                </a:lnTo>
                <a:close/>
              </a:path>
            </a:pathLst>
          </a:custGeom>
          <a:ln w="19812">
            <a:solidFill>
              <a:srgbClr val="92D050"/>
            </a:solidFill>
            <a:prstDash val="sys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6" name="object 28">
            <a:extLst>
              <a:ext uri="{FF2B5EF4-FFF2-40B4-BE49-F238E27FC236}">
                <a16:creationId xmlns:a16="http://schemas.microsoft.com/office/drawing/2014/main" id="{4A644A57-734E-41A9-8BE1-A7827791C3FE}"/>
              </a:ext>
            </a:extLst>
          </p:cNvPr>
          <p:cNvSpPr txBox="1"/>
          <p:nvPr/>
        </p:nvSpPr>
        <p:spPr>
          <a:xfrm>
            <a:off x="4153019" y="1495696"/>
            <a:ext cx="2519045" cy="709168"/>
          </a:xfrm>
          <a:prstGeom prst="rect">
            <a:avLst/>
          </a:prstGeom>
          <a:solidFill>
            <a:srgbClr val="6EAC46"/>
          </a:solidFill>
        </p:spPr>
        <p:txBody>
          <a:bodyPr vert="horz" wrap="square" lIns="0" tIns="135890" rIns="0" bIns="0" rtlCol="0">
            <a:spAutoFit/>
          </a:bodyPr>
          <a:lstStyle>
            <a:defPPr>
              <a:defRPr lang="de-DE"/>
            </a:defPPr>
            <a:lvl1pPr marL="443865">
              <a:lnSpc>
                <a:spcPct val="100000"/>
              </a:lnSpc>
              <a:spcBef>
                <a:spcPts val="1070"/>
              </a:spcBef>
              <a:defRPr sz="1400" b="1">
                <a:latin typeface="Arial"/>
                <a:cs typeface="Arial"/>
              </a:defRPr>
            </a:lvl1pPr>
          </a:lstStyle>
          <a:p>
            <a:r>
              <a:rPr lang="de-DE" dirty="0"/>
              <a:t>       Alliances</a:t>
            </a:r>
            <a:r>
              <a:rPr lang="de-DE" spc="-7" baseline="21604" dirty="0"/>
              <a:t>2</a:t>
            </a:r>
            <a:endParaRPr lang="en-US" dirty="0"/>
          </a:p>
          <a:p>
            <a:endParaRPr dirty="0"/>
          </a:p>
        </p:txBody>
      </p:sp>
      <p:sp>
        <p:nvSpPr>
          <p:cNvPr id="107" name="object 29">
            <a:extLst>
              <a:ext uri="{FF2B5EF4-FFF2-40B4-BE49-F238E27FC236}">
                <a16:creationId xmlns:a16="http://schemas.microsoft.com/office/drawing/2014/main" id="{547BAEC0-1C10-4D62-BFB5-7C026F5385E3}"/>
              </a:ext>
            </a:extLst>
          </p:cNvPr>
          <p:cNvSpPr/>
          <p:nvPr/>
        </p:nvSpPr>
        <p:spPr>
          <a:xfrm>
            <a:off x="4150324" y="2148997"/>
            <a:ext cx="2519045" cy="3764279"/>
          </a:xfrm>
          <a:custGeom>
            <a:avLst/>
            <a:gdLst/>
            <a:ahLst/>
            <a:cxnLst/>
            <a:rect l="l" t="t" r="r" b="b"/>
            <a:pathLst>
              <a:path w="2519045" h="3764279">
                <a:moveTo>
                  <a:pt x="0" y="3764026"/>
                </a:moveTo>
                <a:lnTo>
                  <a:pt x="2519044" y="3764026"/>
                </a:lnTo>
                <a:lnTo>
                  <a:pt x="2519044" y="0"/>
                </a:lnTo>
                <a:lnTo>
                  <a:pt x="0" y="0"/>
                </a:lnTo>
                <a:lnTo>
                  <a:pt x="0" y="3764026"/>
                </a:lnTo>
                <a:close/>
              </a:path>
            </a:pathLst>
          </a:custGeom>
          <a:ln w="19812">
            <a:solidFill>
              <a:srgbClr val="92D05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8" name="object 18">
            <a:extLst>
              <a:ext uri="{FF2B5EF4-FFF2-40B4-BE49-F238E27FC236}">
                <a16:creationId xmlns:a16="http://schemas.microsoft.com/office/drawing/2014/main" id="{82FCA026-7C0A-450D-B9DC-5DBFA4312EDF}"/>
              </a:ext>
            </a:extLst>
          </p:cNvPr>
          <p:cNvSpPr txBox="1"/>
          <p:nvPr/>
        </p:nvSpPr>
        <p:spPr>
          <a:xfrm>
            <a:off x="4226524" y="2260122"/>
            <a:ext cx="2131695" cy="18274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01600" indent="-101600">
              <a:lnSpc>
                <a:spcPct val="100000"/>
              </a:lnSpc>
              <a:spcBef>
                <a:spcPts val="105"/>
              </a:spcBef>
              <a:buFont typeface="Wingdings"/>
              <a:buChar char=""/>
              <a:tabLst>
                <a:tab pos="102235" algn="l"/>
              </a:tabLst>
            </a:pPr>
            <a:r>
              <a:rPr lang="de-DE" sz="1100" b="1" spc="-5" dirty="0" err="1">
                <a:solidFill>
                  <a:srgbClr val="6FAC46"/>
                </a:solidFill>
                <a:latin typeface="Arial"/>
                <a:cs typeface="Arial"/>
              </a:rPr>
              <a:t>Pharmacies</a:t>
            </a:r>
            <a:r>
              <a:rPr lang="de-DE" sz="1100" b="1" spc="-5" dirty="0">
                <a:solidFill>
                  <a:srgbClr val="6FAC46"/>
                </a:solidFill>
                <a:latin typeface="Arial"/>
                <a:cs typeface="Arial"/>
              </a:rPr>
              <a:t> -  </a:t>
            </a:r>
            <a:r>
              <a:rPr lang="de-DE" sz="1100" spc="-5" dirty="0">
                <a:latin typeface="Arial"/>
                <a:cs typeface="Arial"/>
              </a:rPr>
              <a:t>Doc Morris</a:t>
            </a:r>
            <a:endParaRPr sz="1100" dirty="0">
              <a:latin typeface="Arial"/>
              <a:cs typeface="Arial"/>
            </a:endParaRPr>
          </a:p>
        </p:txBody>
      </p:sp>
      <p:pic>
        <p:nvPicPr>
          <p:cNvPr id="109" name="Picture 108">
            <a:extLst>
              <a:ext uri="{FF2B5EF4-FFF2-40B4-BE49-F238E27FC236}">
                <a16:creationId xmlns:a16="http://schemas.microsoft.com/office/drawing/2014/main" id="{19F2F4B1-DF34-40D8-815E-4C46DEC0D0C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6989" y="3016163"/>
            <a:ext cx="2285714" cy="2285714"/>
          </a:xfrm>
          <a:prstGeom prst="rect">
            <a:avLst/>
          </a:prstGeom>
        </p:spPr>
      </p:pic>
      <p:pic>
        <p:nvPicPr>
          <p:cNvPr id="110" name="Picture 109">
            <a:extLst>
              <a:ext uri="{FF2B5EF4-FFF2-40B4-BE49-F238E27FC236}">
                <a16:creationId xmlns:a16="http://schemas.microsoft.com/office/drawing/2014/main" id="{316FFB5F-B2EB-4CD2-A0BC-774069725B9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577" y="3327546"/>
            <a:ext cx="557213" cy="737235"/>
          </a:xfrm>
          <a:prstGeom prst="rect">
            <a:avLst/>
          </a:prstGeom>
        </p:spPr>
      </p:pic>
      <p:pic>
        <p:nvPicPr>
          <p:cNvPr id="111" name="Picture 110">
            <a:extLst>
              <a:ext uri="{FF2B5EF4-FFF2-40B4-BE49-F238E27FC236}">
                <a16:creationId xmlns:a16="http://schemas.microsoft.com/office/drawing/2014/main" id="{298289CF-E01F-4B16-8F8D-774C28780B3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160" y="4307495"/>
            <a:ext cx="1828800" cy="1078992"/>
          </a:xfrm>
          <a:prstGeom prst="rect">
            <a:avLst/>
          </a:prstGeom>
        </p:spPr>
      </p:pic>
      <p:pic>
        <p:nvPicPr>
          <p:cNvPr id="112" name="Picture 111">
            <a:extLst>
              <a:ext uri="{FF2B5EF4-FFF2-40B4-BE49-F238E27FC236}">
                <a16:creationId xmlns:a16="http://schemas.microsoft.com/office/drawing/2014/main" id="{96EC6314-1E27-4DAC-9284-BA43CEC1CA4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1455" y="3389063"/>
            <a:ext cx="1143000" cy="640080"/>
          </a:xfrm>
          <a:prstGeom prst="rect">
            <a:avLst/>
          </a:prstGeom>
        </p:spPr>
      </p:pic>
      <p:sp>
        <p:nvSpPr>
          <p:cNvPr id="113" name="TextBox 112">
            <a:extLst>
              <a:ext uri="{FF2B5EF4-FFF2-40B4-BE49-F238E27FC236}">
                <a16:creationId xmlns:a16="http://schemas.microsoft.com/office/drawing/2014/main" id="{F12789D9-112D-4E47-ABF3-866DBCED249E}"/>
              </a:ext>
            </a:extLst>
          </p:cNvPr>
          <p:cNvSpPr txBox="1"/>
          <p:nvPr/>
        </p:nvSpPr>
        <p:spPr>
          <a:xfrm>
            <a:off x="8911178" y="6285167"/>
            <a:ext cx="1068397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de-DE" sz="2400" dirty="0" err="1"/>
          </a:p>
        </p:txBody>
      </p:sp>
      <p:sp>
        <p:nvSpPr>
          <p:cNvPr id="114" name="Foliennummernplatzhalter 1">
            <a:extLst>
              <a:ext uri="{FF2B5EF4-FFF2-40B4-BE49-F238E27FC236}">
                <a16:creationId xmlns:a16="http://schemas.microsoft.com/office/drawing/2014/main" id="{FAE72DB5-9FF0-40A6-912C-075D897654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40000" y="6336000"/>
            <a:ext cx="672000" cy="180000"/>
          </a:xfrm>
        </p:spPr>
        <p:txBody>
          <a:bodyPr/>
          <a:lstStyle/>
          <a:p>
            <a:fld id="{BEA30288-E3B5-4660-9128-F5D5808E1F0C}" type="slidenum">
              <a:rPr lang="de-DE" smtClean="0"/>
              <a:t>3</a:t>
            </a:fld>
            <a:endParaRPr lang="de-DE"/>
          </a:p>
        </p:txBody>
      </p:sp>
      <p:sp>
        <p:nvSpPr>
          <p:cNvPr id="17" name="object 8">
            <a:extLst>
              <a:ext uri="{FF2B5EF4-FFF2-40B4-BE49-F238E27FC236}">
                <a16:creationId xmlns:a16="http://schemas.microsoft.com/office/drawing/2014/main" id="{3597F74D-7539-485D-8879-7F518D4FDC97}"/>
              </a:ext>
            </a:extLst>
          </p:cNvPr>
          <p:cNvSpPr/>
          <p:nvPr/>
        </p:nvSpPr>
        <p:spPr>
          <a:xfrm flipV="1">
            <a:off x="7248128" y="1259045"/>
            <a:ext cx="4239246" cy="45719"/>
          </a:xfrm>
          <a:custGeom>
            <a:avLst/>
            <a:gdLst/>
            <a:ahLst/>
            <a:cxnLst/>
            <a:rect l="l" t="t" r="r" b="b"/>
            <a:pathLst>
              <a:path w="5943600">
                <a:moveTo>
                  <a:pt x="0" y="0"/>
                </a:moveTo>
                <a:lnTo>
                  <a:pt x="5943600" y="0"/>
                </a:lnTo>
              </a:path>
            </a:pathLst>
          </a:custGeom>
          <a:ln w="6096">
            <a:solidFill>
              <a:srgbClr val="EC7C3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29">
            <a:extLst>
              <a:ext uri="{FF2B5EF4-FFF2-40B4-BE49-F238E27FC236}">
                <a16:creationId xmlns:a16="http://schemas.microsoft.com/office/drawing/2014/main" id="{E5B1345C-BC28-4AC5-B36D-28B818583FEF}"/>
              </a:ext>
            </a:extLst>
          </p:cNvPr>
          <p:cNvSpPr txBox="1"/>
          <p:nvPr/>
        </p:nvSpPr>
        <p:spPr>
          <a:xfrm>
            <a:off x="8537861" y="944780"/>
            <a:ext cx="1691184" cy="32124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sz="2000" b="1" dirty="0">
                <a:solidFill>
                  <a:srgbClr val="EC7C30"/>
                </a:solidFill>
                <a:latin typeface="Arial"/>
                <a:cs typeface="Arial"/>
              </a:rPr>
              <a:t>Partnerships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19" name="object 10">
            <a:extLst>
              <a:ext uri="{FF2B5EF4-FFF2-40B4-BE49-F238E27FC236}">
                <a16:creationId xmlns:a16="http://schemas.microsoft.com/office/drawing/2014/main" id="{0051DE19-950C-4566-9E90-E362A54D9242}"/>
              </a:ext>
            </a:extLst>
          </p:cNvPr>
          <p:cNvSpPr/>
          <p:nvPr/>
        </p:nvSpPr>
        <p:spPr>
          <a:xfrm rot="16200000">
            <a:off x="4452321" y="3596515"/>
            <a:ext cx="5648167" cy="56553"/>
          </a:xfrm>
          <a:custGeom>
            <a:avLst/>
            <a:gdLst/>
            <a:ahLst/>
            <a:cxnLst/>
            <a:rect l="l" t="t" r="r" b="b"/>
            <a:pathLst>
              <a:path w="5144770">
                <a:moveTo>
                  <a:pt x="0" y="0"/>
                </a:moveTo>
                <a:lnTo>
                  <a:pt x="5144516" y="0"/>
                </a:lnTo>
              </a:path>
            </a:pathLst>
          </a:custGeom>
          <a:ln w="6096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39381D8-2ECE-429F-9E08-CF68DE03E88F}"/>
              </a:ext>
            </a:extLst>
          </p:cNvPr>
          <p:cNvSpPr/>
          <p:nvPr/>
        </p:nvSpPr>
        <p:spPr>
          <a:xfrm>
            <a:off x="7304682" y="1468496"/>
            <a:ext cx="4198394" cy="24160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77825" indent="-285750">
              <a:lnSpc>
                <a:spcPct val="100000"/>
              </a:lnSpc>
              <a:spcBef>
                <a:spcPts val="960"/>
              </a:spcBef>
              <a:buClr>
                <a:srgbClr val="EC7C30"/>
              </a:buClr>
              <a:buFont typeface="Arial" panose="020B0604020202020204" pitchFamily="34" charset="0"/>
              <a:buChar char="•"/>
              <a:tabLst>
                <a:tab pos="275590" algn="l"/>
              </a:tabLst>
            </a:pPr>
            <a:r>
              <a:rPr lang="en-US" spc="-5" dirty="0">
                <a:latin typeface="Arial"/>
                <a:cs typeface="Arial"/>
              </a:rPr>
              <a:t>Partner with Network of hospitals, laboratories, clinics, and doctors for appointments, and consultations </a:t>
            </a:r>
          </a:p>
          <a:p>
            <a:pPr marL="377825" indent="-285750">
              <a:spcBef>
                <a:spcPts val="960"/>
              </a:spcBef>
              <a:buClr>
                <a:srgbClr val="EC7C30"/>
              </a:buClr>
              <a:buFont typeface="Arial" panose="020B0604020202020204" pitchFamily="34" charset="0"/>
              <a:buChar char="•"/>
              <a:tabLst>
                <a:tab pos="275590" algn="l"/>
              </a:tabLst>
            </a:pPr>
            <a:r>
              <a:rPr lang="en-US" spc="-5" dirty="0">
                <a:cs typeface="Arial"/>
              </a:rPr>
              <a:t>Partner with Insurance companies for payments and settlements</a:t>
            </a:r>
          </a:p>
          <a:p>
            <a:pPr marL="92075">
              <a:spcBef>
                <a:spcPts val="960"/>
              </a:spcBef>
              <a:buClr>
                <a:srgbClr val="EC7C30"/>
              </a:buClr>
              <a:tabLst>
                <a:tab pos="275590" algn="l"/>
              </a:tabLst>
            </a:pPr>
            <a:endParaRPr lang="en-US" dirty="0">
              <a:cs typeface="Arial"/>
            </a:endParaRPr>
          </a:p>
          <a:p>
            <a:pPr marL="92075">
              <a:lnSpc>
                <a:spcPct val="100000"/>
              </a:lnSpc>
              <a:spcBef>
                <a:spcPts val="960"/>
              </a:spcBef>
              <a:buClr>
                <a:srgbClr val="EC7C30"/>
              </a:buClr>
              <a:tabLst>
                <a:tab pos="275590" algn="l"/>
              </a:tabLst>
            </a:pPr>
            <a:endParaRPr lang="en-US" dirty="0">
              <a:latin typeface="Arial"/>
              <a:cs typeface="Arial"/>
            </a:endParaRPr>
          </a:p>
        </p:txBody>
      </p:sp>
      <p:sp>
        <p:nvSpPr>
          <p:cNvPr id="21" name="object 8">
            <a:extLst>
              <a:ext uri="{FF2B5EF4-FFF2-40B4-BE49-F238E27FC236}">
                <a16:creationId xmlns:a16="http://schemas.microsoft.com/office/drawing/2014/main" id="{09DD2C82-FE96-4CC2-BA3F-6A8BA352388C}"/>
              </a:ext>
            </a:extLst>
          </p:cNvPr>
          <p:cNvSpPr/>
          <p:nvPr/>
        </p:nvSpPr>
        <p:spPr>
          <a:xfrm flipV="1">
            <a:off x="7248128" y="3104964"/>
            <a:ext cx="4239246" cy="45719"/>
          </a:xfrm>
          <a:custGeom>
            <a:avLst/>
            <a:gdLst/>
            <a:ahLst/>
            <a:cxnLst/>
            <a:rect l="l" t="t" r="r" b="b"/>
            <a:pathLst>
              <a:path w="5943600">
                <a:moveTo>
                  <a:pt x="0" y="0"/>
                </a:moveTo>
                <a:lnTo>
                  <a:pt x="5943600" y="0"/>
                </a:lnTo>
              </a:path>
            </a:pathLst>
          </a:custGeom>
          <a:ln w="6096">
            <a:solidFill>
              <a:srgbClr val="EC7C3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8">
            <a:extLst>
              <a:ext uri="{FF2B5EF4-FFF2-40B4-BE49-F238E27FC236}">
                <a16:creationId xmlns:a16="http://schemas.microsoft.com/office/drawing/2014/main" id="{5E115392-51B7-4F87-B370-F1DDC9692DB6}"/>
              </a:ext>
            </a:extLst>
          </p:cNvPr>
          <p:cNvSpPr/>
          <p:nvPr/>
        </p:nvSpPr>
        <p:spPr>
          <a:xfrm flipV="1">
            <a:off x="7248128" y="3599305"/>
            <a:ext cx="4239246" cy="45719"/>
          </a:xfrm>
          <a:custGeom>
            <a:avLst/>
            <a:gdLst/>
            <a:ahLst/>
            <a:cxnLst/>
            <a:rect l="l" t="t" r="r" b="b"/>
            <a:pathLst>
              <a:path w="5943600">
                <a:moveTo>
                  <a:pt x="0" y="0"/>
                </a:moveTo>
                <a:lnTo>
                  <a:pt x="5943600" y="0"/>
                </a:lnTo>
              </a:path>
            </a:pathLst>
          </a:custGeom>
          <a:ln w="6096">
            <a:solidFill>
              <a:srgbClr val="92D05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129">
            <a:extLst>
              <a:ext uri="{FF2B5EF4-FFF2-40B4-BE49-F238E27FC236}">
                <a16:creationId xmlns:a16="http://schemas.microsoft.com/office/drawing/2014/main" id="{ACD4F114-650A-433D-881D-6DD0549B546D}"/>
              </a:ext>
            </a:extLst>
          </p:cNvPr>
          <p:cNvSpPr txBox="1"/>
          <p:nvPr/>
        </p:nvSpPr>
        <p:spPr>
          <a:xfrm>
            <a:off x="8537861" y="3285040"/>
            <a:ext cx="1691184" cy="32124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sz="2000" b="1" dirty="0">
                <a:solidFill>
                  <a:srgbClr val="92D050"/>
                </a:solidFill>
                <a:latin typeface="Arial"/>
                <a:cs typeface="Arial"/>
              </a:rPr>
              <a:t>Alliances</a:t>
            </a:r>
            <a:endParaRPr sz="2000" dirty="0">
              <a:solidFill>
                <a:srgbClr val="92D050"/>
              </a:solidFill>
              <a:latin typeface="Arial"/>
              <a:cs typeface="Arial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A84F8DB-4C3E-479E-BB52-FDCE448C3480}"/>
              </a:ext>
            </a:extLst>
          </p:cNvPr>
          <p:cNvSpPr/>
          <p:nvPr/>
        </p:nvSpPr>
        <p:spPr>
          <a:xfrm>
            <a:off x="7262202" y="3789040"/>
            <a:ext cx="4198394" cy="35240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77825" indent="-285750">
              <a:lnSpc>
                <a:spcPct val="100000"/>
              </a:lnSpc>
              <a:spcBef>
                <a:spcPts val="960"/>
              </a:spcBef>
              <a:buClr>
                <a:srgbClr val="92D050"/>
              </a:buClr>
              <a:buFont typeface="Arial" panose="020B0604020202020204" pitchFamily="34" charset="0"/>
              <a:buChar char="•"/>
              <a:tabLst>
                <a:tab pos="275590" algn="l"/>
              </a:tabLst>
            </a:pPr>
            <a:r>
              <a:rPr lang="en-US" spc="-5" dirty="0">
                <a:latin typeface="Arial"/>
                <a:cs typeface="Arial"/>
              </a:rPr>
              <a:t>Strategic Alliance with </a:t>
            </a:r>
            <a:r>
              <a:rPr lang="en-US" spc="-5" dirty="0" err="1">
                <a:latin typeface="Arial"/>
                <a:cs typeface="Arial"/>
              </a:rPr>
              <a:t>DocMorris</a:t>
            </a:r>
            <a:r>
              <a:rPr lang="en-US" spc="-5" dirty="0">
                <a:latin typeface="Arial"/>
                <a:cs typeface="Arial"/>
              </a:rPr>
              <a:t> </a:t>
            </a:r>
            <a:r>
              <a:rPr lang="en-US" spc="-5" dirty="0" err="1">
                <a:latin typeface="Arial"/>
                <a:cs typeface="Arial"/>
              </a:rPr>
              <a:t>Apotheke</a:t>
            </a:r>
            <a:r>
              <a:rPr lang="en-US" spc="-5" dirty="0">
                <a:cs typeface="Arial"/>
              </a:rPr>
              <a:t> Pharmacy for </a:t>
            </a:r>
            <a:r>
              <a:rPr lang="en-US" spc="-5" dirty="0">
                <a:latin typeface="Arial"/>
                <a:cs typeface="Arial"/>
              </a:rPr>
              <a:t>the delivery of medicines and drugs at door-steps</a:t>
            </a:r>
          </a:p>
          <a:p>
            <a:pPr marL="377825" indent="-285750">
              <a:spcBef>
                <a:spcPts val="960"/>
              </a:spcBef>
              <a:buClr>
                <a:srgbClr val="92D050"/>
              </a:buClr>
              <a:buFont typeface="Arial" panose="020B0604020202020204" pitchFamily="34" charset="0"/>
              <a:buChar char="•"/>
              <a:tabLst>
                <a:tab pos="275590" algn="l"/>
              </a:tabLst>
            </a:pPr>
            <a:r>
              <a:rPr lang="en-US" spc="-5" dirty="0">
                <a:cs typeface="Arial"/>
              </a:rPr>
              <a:t>It’s a win-win situation for both </a:t>
            </a:r>
            <a:r>
              <a:rPr lang="en-US" spc="-5" dirty="0" err="1">
                <a:cs typeface="Arial"/>
              </a:rPr>
              <a:t>DocMorris</a:t>
            </a:r>
            <a:r>
              <a:rPr lang="en-US" spc="-5" dirty="0">
                <a:cs typeface="Arial"/>
              </a:rPr>
              <a:t> and Ping An. </a:t>
            </a:r>
            <a:r>
              <a:rPr lang="en-US" spc="-5" dirty="0" err="1">
                <a:cs typeface="Arial"/>
              </a:rPr>
              <a:t>DocMorris</a:t>
            </a:r>
            <a:r>
              <a:rPr lang="en-US" spc="-5" dirty="0">
                <a:cs typeface="Arial"/>
              </a:rPr>
              <a:t> already has an established fleet and logistics. Ping An saves on establishment costs</a:t>
            </a:r>
          </a:p>
          <a:p>
            <a:pPr marL="92075">
              <a:spcBef>
                <a:spcPts val="960"/>
              </a:spcBef>
              <a:buClr>
                <a:srgbClr val="EC7C30"/>
              </a:buClr>
              <a:tabLst>
                <a:tab pos="275590" algn="l"/>
              </a:tabLst>
            </a:pPr>
            <a:endParaRPr lang="en-US" dirty="0">
              <a:cs typeface="Arial"/>
            </a:endParaRPr>
          </a:p>
          <a:p>
            <a:pPr marL="92075">
              <a:lnSpc>
                <a:spcPct val="100000"/>
              </a:lnSpc>
              <a:spcBef>
                <a:spcPts val="960"/>
              </a:spcBef>
              <a:buClr>
                <a:srgbClr val="EC7C30"/>
              </a:buClr>
              <a:tabLst>
                <a:tab pos="275590" algn="l"/>
              </a:tabLst>
            </a:pPr>
            <a:endParaRPr lang="en-US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612740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arissa">
  <a:themeElements>
    <a:clrScheme name="EBS">
      <a:dk1>
        <a:srgbClr val="4A4A4A"/>
      </a:dk1>
      <a:lt1>
        <a:sysClr val="window" lastClr="FFFFFF"/>
      </a:lt1>
      <a:dk2>
        <a:srgbClr val="004E89"/>
      </a:dk2>
      <a:lt2>
        <a:srgbClr val="DADADA"/>
      </a:lt2>
      <a:accent1>
        <a:srgbClr val="71A3B8"/>
      </a:accent1>
      <a:accent2>
        <a:srgbClr val="003462"/>
      </a:accent2>
      <a:accent3>
        <a:srgbClr val="AF006A"/>
      </a:accent3>
      <a:accent4>
        <a:srgbClr val="B8D1DB"/>
      </a:accent4>
      <a:accent5>
        <a:srgbClr val="7F99B0"/>
      </a:accent5>
      <a:accent6>
        <a:srgbClr val="D77FB4"/>
      </a:accent6>
      <a:hlink>
        <a:srgbClr val="AF006A"/>
      </a:hlink>
      <a:folHlink>
        <a:srgbClr val="71A3B8"/>
      </a:folHlink>
    </a:clrScheme>
    <a:fontScheme name="EBS Universitä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2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88</Words>
  <Application>Microsoft Office PowerPoint</Application>
  <PresentationFormat>Widescreen</PresentationFormat>
  <Paragraphs>47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0" baseType="lpstr">
      <vt:lpstr>Arial</vt:lpstr>
      <vt:lpstr>Calibri</vt:lpstr>
      <vt:lpstr>Symbol</vt:lpstr>
      <vt:lpstr>Times New Roman</vt:lpstr>
      <vt:lpstr>Wingdings</vt:lpstr>
      <vt:lpstr>Larissa</vt:lpstr>
      <vt:lpstr>think-cell Slide</vt:lpstr>
      <vt:lpstr>BUSINESS MODEL - GERMANY</vt:lpstr>
      <vt:lpstr>REVENUE SOURCES</vt:lpstr>
      <vt:lpstr>MARKET ENTRY - GERMAN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hristopher Petry</dc:creator>
  <cp:lastModifiedBy>Karthik Kannepalli</cp:lastModifiedBy>
  <cp:revision>553</cp:revision>
  <cp:lastPrinted>2019-10-31T14:40:20Z</cp:lastPrinted>
  <dcterms:created xsi:type="dcterms:W3CDTF">2017-08-18T09:56:33Z</dcterms:created>
  <dcterms:modified xsi:type="dcterms:W3CDTF">2019-11-11T16:11:29Z</dcterms:modified>
</cp:coreProperties>
</file>